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Override5.xml" ContentType="application/vnd.openxmlformats-officedocument.themeOverride+xml"/>
  <Override PartName="/ppt/charts/colors6.xml" ContentType="application/vnd.ms-office.chartcolor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heme/themeOverride3.xml" ContentType="application/vnd.openxmlformats-officedocument.themeOverride+xml"/>
  <Override PartName="/ppt/charts/colors4.xml" ContentType="application/vnd.ms-office.chartcolorstyle+xml"/>
  <Override PartName="/ppt/charts/style11.xml" ContentType="application/vnd.ms-office.chartstyle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notesSlides/notesSlide9.xml" ContentType="application/vnd.openxmlformats-officedocument.presentationml.notesSlide+xml"/>
  <Override PartName="/ppt/charts/chart7.xml" ContentType="application/vnd.openxmlformats-officedocument.drawingml.chart+xml"/>
  <Override PartName="/ppt/charts/style9.xml" ContentType="application/vnd.ms-office.chartstyle+xml"/>
  <Override PartName="/ppt/charts/colors10.xml" ContentType="application/vnd.ms-office.chartcolorstyle+xml"/>
  <Override PartName="/ppt/charts/style7.xml" ContentType="application/vnd.ms-office.chartstyle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5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style5.xml" ContentType="application/vnd.ms-office.chartstyl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Default Extension="bin" ContentType="application/vnd.openxmlformats-officedocument.oleObject"/>
  <Override PartName="/ppt/theme/themeOverride8.xml" ContentType="application/vnd.openxmlformats-officedocument.themeOverride+xml"/>
  <Override PartName="/ppt/charts/colors9.xml" ContentType="application/vnd.ms-office.chartcolorstyle+xml"/>
  <Override PartName="/ppt/charts/style1.xml" ContentType="application/vnd.ms-office.chart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theme/themeOverride6.xml" ContentType="application/vnd.openxmlformats-officedocument.themeOverride+xml"/>
  <Override PartName="/ppt/charts/colors7.xml" ContentType="application/vnd.ms-office.chartcolor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Default Extension="jpeg" ContentType="image/jpeg"/>
  <Override PartName="/ppt/theme/themeOverride4.xml" ContentType="application/vnd.openxmlformats-officedocument.themeOverride+xml"/>
  <Override PartName="/ppt/charts/style10.xml" ContentType="application/vnd.ms-office.chartstyle+xml"/>
  <Override PartName="/ppt/charts/colors5.xml" ContentType="application/vnd.ms-office.chartcolor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heme/themeOverride2.xml" ContentType="application/vnd.openxmlformats-officedocument.themeOverride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charts/chart8.xml" ContentType="application/vnd.openxmlformats-officedocument.drawingml.chart+xml"/>
  <Override PartName="/ppt/charts/chart12.xml" ContentType="application/vnd.openxmlformats-officedocument.drawingml.chart+xml"/>
  <Override PartName="/ppt/charts/colors1.xml" ContentType="application/vnd.ms-office.chartcolorstyle+xml"/>
  <Override PartName="/ppt/charts/colors11.xml" ContentType="application/vnd.ms-office.chartcolorstyl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charts/chart6.xml" ContentType="application/vnd.openxmlformats-officedocument.drawingml.chart+xml"/>
  <Override PartName="/ppt/notesSlides/notesSlide8.xml" ContentType="application/vnd.openxmlformats-officedocument.presentationml.notesSlide+xml"/>
  <Override PartName="/ppt/charts/chart10.xml" ContentType="application/vnd.openxmlformats-officedocument.drawingml.chart+xml"/>
  <Override PartName="/ppt/charts/style8.xml" ContentType="application/vnd.ms-office.chartstyle+xml"/>
  <Override PartName="/ppt/charts/chart4.xml" ContentType="application/vnd.openxmlformats-officedocument.drawingml.chart+xml"/>
  <Override PartName="/ppt/notesSlides/notesSlide6.xml" ContentType="application/vnd.openxmlformats-officedocument.presentationml.notesSlide+xml"/>
  <Override PartName="/ppt/charts/style6.xml" ContentType="application/vnd.ms-office.chartstyle+xml"/>
  <Override PartName="/ppt/slides/slide8.xml" ContentType="application/vnd.openxmlformats-officedocument.presentationml.slide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charts/style4.xml" ContentType="application/vnd.ms-office.chartstyle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heme/themeOverride7.xml" ContentType="application/vnd.openxmlformats-officedocument.themeOverride+xml"/>
  <Override PartName="/ppt/charts/colors8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0" r:id="rId1"/>
  </p:sldMasterIdLst>
  <p:notesMasterIdLst>
    <p:notesMasterId r:id="rId25"/>
  </p:notesMasterIdLst>
  <p:sldIdLst>
    <p:sldId id="479" r:id="rId2"/>
    <p:sldId id="541" r:id="rId3"/>
    <p:sldId id="528" r:id="rId4"/>
    <p:sldId id="543" r:id="rId5"/>
    <p:sldId id="545" r:id="rId6"/>
    <p:sldId id="534" r:id="rId7"/>
    <p:sldId id="490" r:id="rId8"/>
    <p:sldId id="547" r:id="rId9"/>
    <p:sldId id="523" r:id="rId10"/>
    <p:sldId id="542" r:id="rId11"/>
    <p:sldId id="548" r:id="rId12"/>
    <p:sldId id="491" r:id="rId13"/>
    <p:sldId id="536" r:id="rId14"/>
    <p:sldId id="537" r:id="rId15"/>
    <p:sldId id="538" r:id="rId16"/>
    <p:sldId id="522" r:id="rId17"/>
    <p:sldId id="539" r:id="rId18"/>
    <p:sldId id="499" r:id="rId19"/>
    <p:sldId id="498" r:id="rId20"/>
    <p:sldId id="540" r:id="rId21"/>
    <p:sldId id="524" r:id="rId22"/>
    <p:sldId id="515" r:id="rId23"/>
    <p:sldId id="311" r:id="rId24"/>
  </p:sldIdLst>
  <p:sldSz cx="9144000" cy="6858000" type="screen4x3"/>
  <p:notesSz cx="6858000" cy="9945688"/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C00000"/>
    <a:srgbClr val="5B9BD5"/>
    <a:srgbClr val="FF0066"/>
    <a:srgbClr val="79B78C"/>
    <a:srgbClr val="B36FC1"/>
    <a:srgbClr val="FF993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364" autoAdjust="0"/>
    <p:restoredTop sz="95501" autoAdjust="0"/>
  </p:normalViewPr>
  <p:slideViewPr>
    <p:cSldViewPr snapToGrid="0">
      <p:cViewPr varScale="1">
        <p:scale>
          <a:sx n="85" d="100"/>
          <a:sy n="85" d="100"/>
        </p:scale>
        <p:origin x="-1440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D:\Users\csomosd\Desktop\&#225;llamad&#243;ss&#225;g.xls" TargetMode="External"/><Relationship Id="rId1" Type="http://schemas.openxmlformats.org/officeDocument/2006/relationships/themeOverride" Target="../theme/themeOverride1.xml"/><Relationship Id="rId5" Type="http://schemas.microsoft.com/office/2011/relationships/chartStyle" Target="style1.xml"/><Relationship Id="rId4" Type="http://schemas.microsoft.com/office/2011/relationships/chartColorStyle" Target="colors1.xml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Style" Target="style11.xml"/><Relationship Id="rId2" Type="http://schemas.microsoft.com/office/2011/relationships/chartColorStyle" Target="colors11.xml"/><Relationship Id="rId1" Type="http://schemas.openxmlformats.org/officeDocument/2006/relationships/oleObject" Target="file:///\\P21J\HIVATAL\KTT\Kov&#225;cs%20&#193;rp&#225;d\el&#337;ad&#225;sok\2017\exp-imp\ksh%20orsz&#225;gokra%20behoz-kivit2.xls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\\P21J\HIVATAL\KTT\Kov&#225;cs%20&#193;rp&#225;d\el&#337;ad&#225;sok\2017\exp-imp\ksh%20orsz&#225;gokra%20behoz-kivit2.xls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\\P21J\HIVATAL\KTT\Kov&#225;cs%20&#193;rp&#225;d\el&#337;ad&#225;sok\2017\exp-imp\ksh%20orsz&#225;gokra%20behoz-kivit2.xls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openxmlformats.org/officeDocument/2006/relationships/package" Target="../embeddings/Microsoft_Office_Excel_munkalap1.xlsx"/><Relationship Id="rId1" Type="http://schemas.openxmlformats.org/officeDocument/2006/relationships/themeOverride" Target="../theme/themeOverride2.xml"/><Relationship Id="rId4" Type="http://schemas.microsoft.com/office/2011/relationships/chartStyle" Target="style4.xm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openxmlformats.org/officeDocument/2006/relationships/oleObject" Target="Microsoft%20PowerPoint%20programbeli%20%20diagram" TargetMode="External"/><Relationship Id="rId1" Type="http://schemas.openxmlformats.org/officeDocument/2006/relationships/themeOverride" Target="../theme/themeOverride3.xml"/><Relationship Id="rId4" Type="http://schemas.microsoft.com/office/2011/relationships/chartStyle" Target="style5.xml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openxmlformats.org/officeDocument/2006/relationships/package" Target="../embeddings/Microsoft_Office_Excel_munkalap2.xlsx"/><Relationship Id="rId1" Type="http://schemas.openxmlformats.org/officeDocument/2006/relationships/themeOverride" Target="../theme/themeOverride4.xml"/><Relationship Id="rId4" Type="http://schemas.microsoft.com/office/2011/relationships/chartStyle" Target="style6.xml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openxmlformats.org/officeDocument/2006/relationships/package" Target="../embeddings/Microsoft_Office_Excel_munkalap3.xlsx"/><Relationship Id="rId1" Type="http://schemas.openxmlformats.org/officeDocument/2006/relationships/themeOverride" Target="../theme/themeOverride5.xml"/><Relationship Id="rId4" Type="http://schemas.microsoft.com/office/2011/relationships/chartStyle" Target="style7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Office_Excel_munkalap4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openxmlformats.org/officeDocument/2006/relationships/package" Target="../embeddings/Microsoft_Office_Excel_munkalap5.xlsx"/><Relationship Id="rId1" Type="http://schemas.openxmlformats.org/officeDocument/2006/relationships/themeOverride" Target="../theme/themeOverride7.xml"/><Relationship Id="rId4" Type="http://schemas.microsoft.com/office/2011/relationships/chartStyle" Target="style8.xml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openxmlformats.org/officeDocument/2006/relationships/package" Target="../embeddings/Microsoft_Office_Excel_munkalap6.xlsx"/><Relationship Id="rId1" Type="http://schemas.openxmlformats.org/officeDocument/2006/relationships/themeOverride" Target="../theme/themeOverride8.xml"/><Relationship Id="rId4" Type="http://schemas.microsoft.com/office/2011/relationships/chartStyle" Target="style9.xml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Style" Target="style10.xml"/><Relationship Id="rId2" Type="http://schemas.microsoft.com/office/2011/relationships/chartColorStyle" Target="colors10.xml"/><Relationship Id="rId1" Type="http://schemas.openxmlformats.org/officeDocument/2006/relationships/oleObject" Target="file:///\\P21J\HIVATAL\KTT\Kov&#225;cs%20&#193;rp&#225;d\el&#337;ad&#225;sok\2017\exp-imp\ksh%20orsz&#225;gokra%20behoz-kivit2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hu-HU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5578020289401423E-2"/>
          <c:y val="2.9078692520406613E-2"/>
          <c:w val="0.92671855213920862"/>
          <c:h val="0.90959628075821053"/>
        </c:manualLayout>
      </c:layout>
      <c:barChart>
        <c:barDir val="col"/>
        <c:grouping val="clustered"/>
        <c:ser>
          <c:idx val="0"/>
          <c:order val="0"/>
          <c:tx>
            <c:strRef>
              <c:f>HU!$A$2</c:f>
              <c:strCache>
                <c:ptCount val="1"/>
                <c:pt idx="0">
                  <c:v>Bruttó államadósság a GDP %-ában</c:v>
                </c:pt>
              </c:strCache>
            </c:strRef>
          </c:tx>
          <c:spPr>
            <a:solidFill>
              <a:srgbClr val="5B9BD5"/>
            </a:solidFill>
            <a:ln>
              <a:noFill/>
            </a:ln>
            <a:effectLst/>
          </c:spPr>
          <c:cat>
            <c:strRef>
              <c:f>HU!$B$1:$AE$1</c:f>
              <c:strCache>
                <c:ptCount val="30"/>
                <c:pt idx="0">
                  <c:v>1989</c:v>
                </c:pt>
                <c:pt idx="1">
                  <c:v>1990</c:v>
                </c:pt>
                <c:pt idx="2">
                  <c:v>1991</c:v>
                </c:pt>
                <c:pt idx="3">
                  <c:v>1992</c:v>
                </c:pt>
                <c:pt idx="4">
                  <c:v>1993</c:v>
                </c:pt>
                <c:pt idx="5">
                  <c:v>1994</c:v>
                </c:pt>
                <c:pt idx="6">
                  <c:v>1995</c:v>
                </c:pt>
                <c:pt idx="7">
                  <c:v>1996</c:v>
                </c:pt>
                <c:pt idx="8">
                  <c:v>1997</c:v>
                </c:pt>
                <c:pt idx="9">
                  <c:v>1998</c:v>
                </c:pt>
                <c:pt idx="10">
                  <c:v>1999</c:v>
                </c:pt>
                <c:pt idx="11">
                  <c:v>2000</c:v>
                </c:pt>
                <c:pt idx="12">
                  <c:v>2001</c:v>
                </c:pt>
                <c:pt idx="13">
                  <c:v>2002</c:v>
                </c:pt>
                <c:pt idx="14">
                  <c:v>2003</c:v>
                </c:pt>
                <c:pt idx="15">
                  <c:v>2004</c:v>
                </c:pt>
                <c:pt idx="16">
                  <c:v>2005</c:v>
                </c:pt>
                <c:pt idx="17">
                  <c:v>2006</c:v>
                </c:pt>
                <c:pt idx="18">
                  <c:v>2007</c:v>
                </c:pt>
                <c:pt idx="19">
                  <c:v>2008</c:v>
                </c:pt>
                <c:pt idx="20">
                  <c:v>2009</c:v>
                </c:pt>
                <c:pt idx="21">
                  <c:v>2010</c:v>
                </c:pt>
                <c:pt idx="22">
                  <c:v>2011</c:v>
                </c:pt>
                <c:pt idx="23">
                  <c:v>2012</c:v>
                </c:pt>
                <c:pt idx="24">
                  <c:v>2013</c:v>
                </c:pt>
                <c:pt idx="25">
                  <c:v>2014</c:v>
                </c:pt>
                <c:pt idx="26">
                  <c:v>2015</c:v>
                </c:pt>
                <c:pt idx="27">
                  <c:v>2016*</c:v>
                </c:pt>
                <c:pt idx="28">
                  <c:v>2017*</c:v>
                </c:pt>
                <c:pt idx="29">
                  <c:v>2018*</c:v>
                </c:pt>
              </c:strCache>
            </c:strRef>
          </c:cat>
          <c:val>
            <c:numRef>
              <c:f>HU!$B$2:$AE$2</c:f>
              <c:numCache>
                <c:formatCode>General</c:formatCode>
                <c:ptCount val="30"/>
                <c:pt idx="1">
                  <c:v>66.3</c:v>
                </c:pt>
                <c:pt idx="2">
                  <c:v>76.599999999999994</c:v>
                </c:pt>
                <c:pt idx="3">
                  <c:v>79.900000000000006</c:v>
                </c:pt>
                <c:pt idx="4">
                  <c:v>90.5</c:v>
                </c:pt>
                <c:pt idx="5">
                  <c:v>89.1</c:v>
                </c:pt>
                <c:pt idx="6">
                  <c:v>85.6</c:v>
                </c:pt>
                <c:pt idx="7">
                  <c:v>72.400000000000006</c:v>
                </c:pt>
                <c:pt idx="8">
                  <c:v>62.9</c:v>
                </c:pt>
                <c:pt idx="9">
                  <c:v>60.9</c:v>
                </c:pt>
                <c:pt idx="10">
                  <c:v>60.8</c:v>
                </c:pt>
                <c:pt idx="11">
                  <c:v>56.1</c:v>
                </c:pt>
                <c:pt idx="12">
                  <c:v>51.9</c:v>
                </c:pt>
                <c:pt idx="13">
                  <c:v>55.1</c:v>
                </c:pt>
                <c:pt idx="14">
                  <c:v>57.8</c:v>
                </c:pt>
                <c:pt idx="15">
                  <c:v>58.8</c:v>
                </c:pt>
                <c:pt idx="16">
                  <c:v>60.5</c:v>
                </c:pt>
                <c:pt idx="17">
                  <c:v>64.7</c:v>
                </c:pt>
                <c:pt idx="18">
                  <c:v>67.5</c:v>
                </c:pt>
                <c:pt idx="19">
                  <c:v>71.599999999999994</c:v>
                </c:pt>
                <c:pt idx="20">
                  <c:v>78</c:v>
                </c:pt>
                <c:pt idx="21">
                  <c:v>80.599999999999994</c:v>
                </c:pt>
                <c:pt idx="22">
                  <c:v>80.8</c:v>
                </c:pt>
                <c:pt idx="23">
                  <c:v>78.3</c:v>
                </c:pt>
                <c:pt idx="24">
                  <c:v>76.7</c:v>
                </c:pt>
                <c:pt idx="25">
                  <c:v>76.2</c:v>
                </c:pt>
                <c:pt idx="26">
                  <c:v>75.3</c:v>
                </c:pt>
                <c:pt idx="27">
                  <c:v>74.099999999999994</c:v>
                </c:pt>
                <c:pt idx="28">
                  <c:v>72</c:v>
                </c:pt>
                <c:pt idx="29">
                  <c:v>70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3DC-45AA-B952-54440B4C66BB}"/>
            </c:ext>
          </c:extLst>
        </c:ser>
        <c:dLbls/>
        <c:gapWidth val="219"/>
        <c:overlap val="-27"/>
        <c:axId val="107223296"/>
        <c:axId val="107245568"/>
      </c:barChart>
      <c:lineChart>
        <c:grouping val="standard"/>
        <c:ser>
          <c:idx val="1"/>
          <c:order val="1"/>
          <c:tx>
            <c:strRef>
              <c:f>HU!$A$3</c:f>
              <c:strCache>
                <c:ptCount val="1"/>
                <c:pt idx="0">
                  <c:v>GPD növekedés (előző év=100%)</c:v>
                </c:pt>
              </c:strCache>
            </c:strRef>
          </c:tx>
          <c:spPr>
            <a:ln w="38100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HU!$B$1:$AE$1</c:f>
              <c:strCache>
                <c:ptCount val="30"/>
                <c:pt idx="0">
                  <c:v>1989</c:v>
                </c:pt>
                <c:pt idx="1">
                  <c:v>1990</c:v>
                </c:pt>
                <c:pt idx="2">
                  <c:v>1991</c:v>
                </c:pt>
                <c:pt idx="3">
                  <c:v>1992</c:v>
                </c:pt>
                <c:pt idx="4">
                  <c:v>1993</c:v>
                </c:pt>
                <c:pt idx="5">
                  <c:v>1994</c:v>
                </c:pt>
                <c:pt idx="6">
                  <c:v>1995</c:v>
                </c:pt>
                <c:pt idx="7">
                  <c:v>1996</c:v>
                </c:pt>
                <c:pt idx="8">
                  <c:v>1997</c:v>
                </c:pt>
                <c:pt idx="9">
                  <c:v>1998</c:v>
                </c:pt>
                <c:pt idx="10">
                  <c:v>1999</c:v>
                </c:pt>
                <c:pt idx="11">
                  <c:v>2000</c:v>
                </c:pt>
                <c:pt idx="12">
                  <c:v>2001</c:v>
                </c:pt>
                <c:pt idx="13">
                  <c:v>2002</c:v>
                </c:pt>
                <c:pt idx="14">
                  <c:v>2003</c:v>
                </c:pt>
                <c:pt idx="15">
                  <c:v>2004</c:v>
                </c:pt>
                <c:pt idx="16">
                  <c:v>2005</c:v>
                </c:pt>
                <c:pt idx="17">
                  <c:v>2006</c:v>
                </c:pt>
                <c:pt idx="18">
                  <c:v>2007</c:v>
                </c:pt>
                <c:pt idx="19">
                  <c:v>2008</c:v>
                </c:pt>
                <c:pt idx="20">
                  <c:v>2009</c:v>
                </c:pt>
                <c:pt idx="21">
                  <c:v>2010</c:v>
                </c:pt>
                <c:pt idx="22">
                  <c:v>2011</c:v>
                </c:pt>
                <c:pt idx="23">
                  <c:v>2012</c:v>
                </c:pt>
                <c:pt idx="24">
                  <c:v>2013</c:v>
                </c:pt>
                <c:pt idx="25">
                  <c:v>2014</c:v>
                </c:pt>
                <c:pt idx="26">
                  <c:v>2015</c:v>
                </c:pt>
                <c:pt idx="27">
                  <c:v>2016*</c:v>
                </c:pt>
                <c:pt idx="28">
                  <c:v>2017*</c:v>
                </c:pt>
                <c:pt idx="29">
                  <c:v>2018*</c:v>
                </c:pt>
              </c:strCache>
            </c:strRef>
          </c:cat>
          <c:val>
            <c:numRef>
              <c:f>HU!$B$3:$AE$3</c:f>
              <c:numCache>
                <c:formatCode>General</c:formatCode>
                <c:ptCount val="30"/>
                <c:pt idx="1">
                  <c:v>-3.5</c:v>
                </c:pt>
                <c:pt idx="2">
                  <c:v>-13.7</c:v>
                </c:pt>
                <c:pt idx="3">
                  <c:v>-3</c:v>
                </c:pt>
                <c:pt idx="4">
                  <c:v>-0.8</c:v>
                </c:pt>
                <c:pt idx="5">
                  <c:v>2.9</c:v>
                </c:pt>
                <c:pt idx="6">
                  <c:v>1.4</c:v>
                </c:pt>
                <c:pt idx="7" formatCode="#\ ##0.0">
                  <c:v>0</c:v>
                </c:pt>
                <c:pt idx="8" formatCode="#\ ##0.0">
                  <c:v>3.3</c:v>
                </c:pt>
                <c:pt idx="9" formatCode="#\ ##0.0">
                  <c:v>4.2</c:v>
                </c:pt>
                <c:pt idx="10" formatCode="#\ ##0.0">
                  <c:v>3.2</c:v>
                </c:pt>
                <c:pt idx="11" formatCode="#\ ##0.0">
                  <c:v>4.2</c:v>
                </c:pt>
                <c:pt idx="12" formatCode="#\ ##0.0">
                  <c:v>3.8</c:v>
                </c:pt>
                <c:pt idx="13" formatCode="#\ ##0.0">
                  <c:v>4.5</c:v>
                </c:pt>
                <c:pt idx="14" formatCode="#\ ##0.0">
                  <c:v>3.8</c:v>
                </c:pt>
                <c:pt idx="15" formatCode="#\ ##0.0">
                  <c:v>5</c:v>
                </c:pt>
                <c:pt idx="16" formatCode="#\ ##0.0">
                  <c:v>4.4000000000000004</c:v>
                </c:pt>
                <c:pt idx="17" formatCode="#\ ##0.0">
                  <c:v>3.9</c:v>
                </c:pt>
                <c:pt idx="18" formatCode="#\ ##0.0">
                  <c:v>0.4</c:v>
                </c:pt>
                <c:pt idx="19" formatCode="#\ ##0.0">
                  <c:v>0.9</c:v>
                </c:pt>
                <c:pt idx="20" formatCode="#\ ##0.0">
                  <c:v>-6.6</c:v>
                </c:pt>
                <c:pt idx="21" formatCode="#\ ##0.0">
                  <c:v>0.70000000000000007</c:v>
                </c:pt>
                <c:pt idx="22" formatCode="#\ ##0.0">
                  <c:v>1.7000000000000002</c:v>
                </c:pt>
                <c:pt idx="23" formatCode="#\ ##0.0">
                  <c:v>-1.6</c:v>
                </c:pt>
                <c:pt idx="24" formatCode="#\ ##0.0">
                  <c:v>2.1</c:v>
                </c:pt>
                <c:pt idx="25" formatCode="#\ ##0.0">
                  <c:v>4.2</c:v>
                </c:pt>
                <c:pt idx="26" formatCode="#\ ##0.0">
                  <c:v>3.4</c:v>
                </c:pt>
                <c:pt idx="27" formatCode="#\ ##0.0">
                  <c:v>2.2000000000000002</c:v>
                </c:pt>
                <c:pt idx="28">
                  <c:v>3.8</c:v>
                </c:pt>
                <c:pt idx="29" formatCode="#\ ##0.0">
                  <c:v>4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3DC-45AA-B952-54440B4C66BB}"/>
            </c:ext>
          </c:extLst>
        </c:ser>
        <c:dLbls/>
        <c:marker val="1"/>
        <c:axId val="107248640"/>
        <c:axId val="107247104"/>
      </c:lineChart>
      <c:catAx>
        <c:axId val="107223296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07245568"/>
        <c:crosses val="autoZero"/>
        <c:auto val="1"/>
        <c:lblAlgn val="ctr"/>
        <c:lblOffset val="100"/>
      </c:catAx>
      <c:valAx>
        <c:axId val="107245568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07223296"/>
        <c:crosses val="autoZero"/>
        <c:crossBetween val="between"/>
      </c:valAx>
      <c:valAx>
        <c:axId val="107247104"/>
        <c:scaling>
          <c:orientation val="minMax"/>
        </c:scaling>
        <c:axPos val="r"/>
        <c:numFmt formatCode="General" sourceLinked="1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07248640"/>
        <c:crosses val="max"/>
        <c:crossBetween val="between"/>
      </c:valAx>
      <c:catAx>
        <c:axId val="107248640"/>
        <c:scaling>
          <c:orientation val="minMax"/>
        </c:scaling>
        <c:delete val="1"/>
        <c:axPos val="b"/>
        <c:numFmt formatCode="General" sourceLinked="1"/>
        <c:tickLblPos val="none"/>
        <c:crossAx val="107247104"/>
        <c:crosses val="autoZero"/>
        <c:auto val="1"/>
        <c:lblAlgn val="ctr"/>
        <c:lblOffset val="100"/>
      </c:catAx>
      <c:spPr>
        <a:noFill/>
        <a:ln>
          <a:noFill/>
        </a:ln>
        <a:effectLst/>
      </c:spPr>
    </c:plotArea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2"/>
  <c:userShapes r:id="rId3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hu-HU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 sz="1800" b="1" dirty="0"/>
              <a:t>Kivitel, 2017</a:t>
            </a:r>
          </a:p>
        </c:rich>
      </c:tx>
      <c:layout>
        <c:manualLayout>
          <c:xMode val="edge"/>
          <c:yMode val="edge"/>
          <c:x val="0.35371068584535142"/>
          <c:y val="3.8514762514848359E-2"/>
        </c:manualLayout>
      </c:layout>
      <c:spPr>
        <a:noFill/>
        <a:ln>
          <a:noFill/>
        </a:ln>
        <a:effectLst/>
      </c:spPr>
    </c:title>
    <c:plotArea>
      <c:layout>
        <c:manualLayout>
          <c:layoutTarget val="inner"/>
          <c:xMode val="edge"/>
          <c:yMode val="edge"/>
          <c:x val="0.25181928945027521"/>
          <c:y val="0.13873518742999899"/>
          <c:w val="0.55727987082707831"/>
          <c:h val="0.65089424673866114"/>
        </c:manualLayout>
      </c:layout>
      <c:pieChart>
        <c:varyColors val="1"/>
        <c:ser>
          <c:idx val="0"/>
          <c:order val="0"/>
          <c:dPt>
            <c:idx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CC4-42E5-AAB1-E03B0FBB9A62}"/>
              </c:ext>
            </c:extLst>
          </c:dPt>
          <c:dPt>
            <c:idx val="1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CC4-42E5-AAB1-E03B0FBB9A62}"/>
              </c:ext>
            </c:extLst>
          </c:dPt>
          <c:dPt>
            <c:idx val="2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2CC4-42E5-AAB1-E03B0FBB9A62}"/>
              </c:ext>
            </c:extLst>
          </c:dPt>
          <c:dPt>
            <c:idx val="3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2CC4-42E5-AAB1-E03B0FBB9A62}"/>
              </c:ext>
            </c:extLst>
          </c:dPt>
          <c:dPt>
            <c:idx val="4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2CC4-42E5-AAB1-E03B0FBB9A62}"/>
              </c:ext>
            </c:extLst>
          </c:dPt>
          <c:dPt>
            <c:idx val="5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2CC4-42E5-AAB1-E03B0FBB9A62}"/>
              </c:ext>
            </c:extLst>
          </c:dPt>
          <c:dPt>
            <c:idx val="6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2CC4-42E5-AAB1-E03B0FBB9A62}"/>
              </c:ext>
            </c:extLst>
          </c:dPt>
          <c:dLbls>
            <c:dLbl>
              <c:idx val="0"/>
              <c:layout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6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600" dirty="0"/>
                      <a:t>79%</a:t>
                    </a:r>
                  </a:p>
                </c:rich>
              </c:tx>
              <c:numFmt formatCode="0.00%" sourceLinked="0"/>
              <c:spPr>
                <a:noFill/>
                <a:ln>
                  <a:noFill/>
                </a:ln>
                <a:effectLst/>
              </c:spPr>
              <c:showPercent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2CC4-42E5-AAB1-E03B0FBB9A6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/>
                      <a:t>9%</a:t>
                    </a:r>
                  </a:p>
                </c:rich>
              </c:tx>
              <c:showPercent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2CC4-42E5-AAB1-E03B0FBB9A6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/>
                      <a:t>7%</a:t>
                    </a:r>
                  </a:p>
                </c:rich>
              </c:tx>
              <c:showPercent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2CC4-42E5-AAB1-E03B0FBB9A6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6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600" dirty="0"/>
                      <a:t>1%</a:t>
                    </a:r>
                  </a:p>
                </c:rich>
              </c:tx>
              <c:numFmt formatCode="0.00%" sourceLinked="0"/>
              <c:spPr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  <a:effectLst/>
              </c:spPr>
              <c:showPercent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2CC4-42E5-AAB1-E03B0FBB9A6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dirty="0"/>
                      <a:t>3%</a:t>
                    </a:r>
                  </a:p>
                </c:rich>
              </c:tx>
              <c:showPercent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2CC4-42E5-AAB1-E03B0FBB9A6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0.20574584070196777"/>
                  <c:y val="-7.041902941865338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6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600" dirty="0"/>
                      <a:t>0,5%</a:t>
                    </a:r>
                  </a:p>
                </c:rich>
              </c:tx>
              <c:numFmt formatCode="0.00%" sourceLinked="0"/>
              <c:spPr>
                <a:solidFill>
                  <a:schemeClr val="accent6">
                    <a:lumMod val="60000"/>
                    <a:lumOff val="40000"/>
                  </a:schemeClr>
                </a:solidFill>
                <a:ln>
                  <a:noFill/>
                </a:ln>
                <a:effectLst/>
              </c:spPr>
              <c:showPercent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2CC4-42E5-AAB1-E03B0FBB9A6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.23130951182071702"/>
                  <c:y val="1.353008910417135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6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600" dirty="0"/>
                      <a:t>0,5%</a:t>
                    </a:r>
                  </a:p>
                </c:rich>
              </c:tx>
              <c:numFmt formatCode="0.00%" sourceLinked="0"/>
              <c:spPr>
                <a:solidFill>
                  <a:srgbClr val="00B0F0"/>
                </a:solidFill>
                <a:ln>
                  <a:noFill/>
                </a:ln>
                <a:effectLst/>
              </c:spPr>
              <c:showPercent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2CC4-42E5-AAB1-E03B0FBB9A6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showPercent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Munka1!$A$240:$A$246</c:f>
              <c:strCache>
                <c:ptCount val="7"/>
                <c:pt idx="0">
                  <c:v>EU-tagállamok</c:v>
                </c:pt>
                <c:pt idx="1">
                  <c:v>EU-n kívüli európai országok</c:v>
                </c:pt>
                <c:pt idx="2">
                  <c:v>Ázsiai országok</c:v>
                </c:pt>
                <c:pt idx="3">
                  <c:v>Afrikai országok</c:v>
                </c:pt>
                <c:pt idx="4">
                  <c:v>Észak-amerikai országok</c:v>
                </c:pt>
                <c:pt idx="5">
                  <c:v>Dél-amerikai országok</c:v>
                </c:pt>
                <c:pt idx="6">
                  <c:v>Auszrália és óceániai országok</c:v>
                </c:pt>
              </c:strCache>
            </c:strRef>
          </c:cat>
          <c:val>
            <c:numRef>
              <c:f>Munka1!$C$240:$C$246</c:f>
              <c:numCache>
                <c:formatCode>#,##0.0</c:formatCode>
                <c:ptCount val="7"/>
                <c:pt idx="0">
                  <c:v>23020177.740502995</c:v>
                </c:pt>
                <c:pt idx="1">
                  <c:v>2488061.7831599992</c:v>
                </c:pt>
                <c:pt idx="2">
                  <c:v>1624318.3199800001</c:v>
                </c:pt>
                <c:pt idx="3">
                  <c:v>279535.8078190001</c:v>
                </c:pt>
                <c:pt idx="4">
                  <c:v>1278510.6111060001</c:v>
                </c:pt>
                <c:pt idx="5">
                  <c:v>126784.300367</c:v>
                </c:pt>
                <c:pt idx="6">
                  <c:v>143031.409536999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2CC4-42E5-AAB1-E03B0FBB9A62}"/>
            </c:ext>
          </c:extLst>
        </c:ser>
        <c:dLbls>
          <c:showPercent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79337357866160263"/>
          <c:w val="1"/>
          <c:h val="0.19215108552535554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hu-HU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 sz="1800" b="1"/>
              <a:t>Behozatal, 2010</a:t>
            </a:r>
          </a:p>
        </c:rich>
      </c:tx>
      <c:layout>
        <c:manualLayout>
          <c:xMode val="edge"/>
          <c:yMode val="edge"/>
          <c:x val="0.63000320047268532"/>
          <c:y val="1.4257596753414458E-2"/>
        </c:manualLayout>
      </c:layout>
      <c:spPr>
        <a:noFill/>
        <a:ln w="25400">
          <a:noFill/>
        </a:ln>
      </c:spPr>
    </c:title>
    <c:plotArea>
      <c:layout>
        <c:manualLayout>
          <c:layoutTarget val="inner"/>
          <c:xMode val="edge"/>
          <c:yMode val="edge"/>
          <c:x val="4.2270634655971577E-2"/>
          <c:y val="0.13259411067570051"/>
          <c:w val="0.84965074562061205"/>
          <c:h val="0.69990328274513303"/>
        </c:manualLayout>
      </c:layout>
      <c:pieChart>
        <c:varyColors val="1"/>
        <c:ser>
          <c:idx val="0"/>
          <c:order val="0"/>
          <c:dPt>
            <c:idx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F8A-43F5-9926-B6B43489B231}"/>
              </c:ext>
            </c:extLst>
          </c:dPt>
          <c:dPt>
            <c:idx val="1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F8A-43F5-9926-B6B43489B231}"/>
              </c:ext>
            </c:extLst>
          </c:dPt>
          <c:dPt>
            <c:idx val="2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2F8A-43F5-9926-B6B43489B231}"/>
              </c:ext>
            </c:extLst>
          </c:dPt>
          <c:dPt>
            <c:idx val="3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2F8A-43F5-9926-B6B43489B231}"/>
              </c:ext>
            </c:extLst>
          </c:dPt>
          <c:dPt>
            <c:idx val="4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2F8A-43F5-9926-B6B43489B231}"/>
              </c:ext>
            </c:extLst>
          </c:dPt>
          <c:dPt>
            <c:idx val="5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2F8A-43F5-9926-B6B43489B231}"/>
              </c:ext>
            </c:extLst>
          </c:dPt>
          <c:dPt>
            <c:idx val="6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2F8A-43F5-9926-B6B43489B231}"/>
              </c:ext>
            </c:extLst>
          </c:dPt>
          <c:dLbls>
            <c:dLbl>
              <c:idx val="0"/>
              <c:layout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68%</a:t>
                    </a:r>
                  </a:p>
                </c:rich>
              </c:tx>
              <c:numFmt formatCode="0.00%" sourceLinked="0"/>
              <c:spPr>
                <a:noFill/>
                <a:ln w="25400">
                  <a:noFill/>
                </a:ln>
              </c:spPr>
              <c:showPercent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2F8A-43F5-9926-B6B43489B23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/>
                      <a:t>11%</a:t>
                    </a:r>
                  </a:p>
                </c:rich>
              </c:tx>
              <c:showPercent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2F8A-43F5-9926-B6B43489B23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/>
                      <a:t>12%</a:t>
                    </a:r>
                  </a:p>
                </c:rich>
              </c:tx>
              <c:showPercent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2F8A-43F5-9926-B6B43489B23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2F8A-43F5-9926-B6B43489B231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/>
                      <a:t>2%</a:t>
                    </a:r>
                    <a:endParaRPr lang="en-US" dirty="0"/>
                  </a:p>
                </c:rich>
              </c:tx>
              <c:showPercent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2F8A-43F5-9926-B6B43489B23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2F8A-43F5-9926-B6B43489B231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2F8A-43F5-9926-B6B43489B231}"/>
                </c:ext>
                <c:ext xmlns:c15="http://schemas.microsoft.com/office/drawing/2012/chart" uri="{CE6537A1-D6FC-4f65-9D91-7224C49458BB}"/>
              </c:extLst>
            </c:dLbl>
            <c:numFmt formatCode="0.00%" sourceLinked="0"/>
            <c:spPr>
              <a:noFill/>
              <a:ln w="25400">
                <a:noFill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showPercent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3.5.6.'!$A$424:$A$430</c:f>
              <c:strCache>
                <c:ptCount val="7"/>
                <c:pt idx="0">
                  <c:v>EU-tagállamok</c:v>
                </c:pt>
                <c:pt idx="1">
                  <c:v>EU-n kívüli európai országok</c:v>
                </c:pt>
                <c:pt idx="2">
                  <c:v>Ázsiai országok</c:v>
                </c:pt>
                <c:pt idx="3">
                  <c:v>Afrikai országok</c:v>
                </c:pt>
                <c:pt idx="4">
                  <c:v>Észak-amerikai országok</c:v>
                </c:pt>
                <c:pt idx="5">
                  <c:v>Dél-amerikai országok</c:v>
                </c:pt>
                <c:pt idx="6">
                  <c:v>Auszrália és óceániai országok</c:v>
                </c:pt>
              </c:strCache>
            </c:strRef>
          </c:cat>
          <c:val>
            <c:numRef>
              <c:f>'3.5.6.'!$B$424:$B$430</c:f>
              <c:numCache>
                <c:formatCode>#,##0.0</c:formatCode>
                <c:ptCount val="7"/>
                <c:pt idx="0">
                  <c:v>12325668.708094994</c:v>
                </c:pt>
                <c:pt idx="1">
                  <c:v>2044307.9196339999</c:v>
                </c:pt>
                <c:pt idx="2">
                  <c:v>3333647.5467290008</c:v>
                </c:pt>
                <c:pt idx="3">
                  <c:v>10959.335717000005</c:v>
                </c:pt>
                <c:pt idx="4">
                  <c:v>423913.79955599998</c:v>
                </c:pt>
                <c:pt idx="5">
                  <c:v>29710.105264000002</c:v>
                </c:pt>
                <c:pt idx="6">
                  <c:v>5302.87795899999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2F8A-43F5-9926-B6B43489B231}"/>
            </c:ext>
          </c:extLst>
        </c:ser>
        <c:dLbls/>
        <c:firstSliceAng val="0"/>
      </c:pieChart>
      <c:spPr>
        <a:noFill/>
        <a:ln w="25400">
          <a:noFill/>
        </a:ln>
      </c:spPr>
    </c:plotArea>
    <c:legend>
      <c:legendPos val="b"/>
      <c:legendEntry>
        <c:idx val="3"/>
        <c:delete val="1"/>
      </c:legendEntry>
      <c:legendEntry>
        <c:idx val="5"/>
        <c:delete val="1"/>
      </c:legendEntry>
      <c:legendEntry>
        <c:idx val="6"/>
        <c:delete val="1"/>
      </c:legendEntry>
      <c:layout>
        <c:manualLayout>
          <c:xMode val="edge"/>
          <c:yMode val="edge"/>
          <c:x val="2.8549444508423595E-2"/>
          <c:y val="0.82196242393772001"/>
          <c:w val="0.93410814517117313"/>
          <c:h val="0.16300142905630444"/>
        </c:manualLayout>
      </c:layout>
      <c:spPr>
        <a:noFill/>
        <a:ln w="25400">
          <a:noFill/>
        </a:ln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zero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hu-HU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hu-HU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 sz="1800" b="1" dirty="0"/>
              <a:t>Behozatal, 2017</a:t>
            </a:r>
          </a:p>
        </c:rich>
      </c:tx>
      <c:layout>
        <c:manualLayout>
          <c:xMode val="edge"/>
          <c:yMode val="edge"/>
          <c:x val="0.66255750893807164"/>
          <c:y val="1.9151864369741901E-2"/>
        </c:manualLayout>
      </c:layout>
      <c:spPr>
        <a:noFill/>
        <a:ln w="25400">
          <a:noFill/>
        </a:ln>
      </c:spPr>
    </c:title>
    <c:plotArea>
      <c:layout>
        <c:manualLayout>
          <c:layoutTarget val="inner"/>
          <c:xMode val="edge"/>
          <c:yMode val="edge"/>
          <c:x val="2.7112282194017966E-2"/>
          <c:y val="0.14079006810570349"/>
          <c:w val="0.84565753848560254"/>
          <c:h val="0.69175403360362331"/>
        </c:manualLayout>
      </c:layout>
      <c:pieChart>
        <c:varyColors val="1"/>
        <c:ser>
          <c:idx val="0"/>
          <c:order val="0"/>
          <c:explosion val="2"/>
          <c:dPt>
            <c:idx val="0"/>
            <c:explosion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136-449D-89DD-D916CF937EAA}"/>
              </c:ext>
            </c:extLst>
          </c:dPt>
          <c:dPt>
            <c:idx val="1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136-449D-89DD-D916CF937EAA}"/>
              </c:ext>
            </c:extLst>
          </c:dPt>
          <c:dPt>
            <c:idx val="2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3136-449D-89DD-D916CF937EAA}"/>
              </c:ext>
            </c:extLst>
          </c:dPt>
          <c:dPt>
            <c:idx val="3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3136-449D-89DD-D916CF937EAA}"/>
              </c:ext>
            </c:extLst>
          </c:dPt>
          <c:dPt>
            <c:idx val="4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3136-449D-89DD-D916CF937EAA}"/>
              </c:ext>
            </c:extLst>
          </c:dPt>
          <c:dPt>
            <c:idx val="5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3136-449D-89DD-D916CF937EAA}"/>
              </c:ext>
            </c:extLst>
          </c:dPt>
          <c:dPt>
            <c:idx val="6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3136-449D-89DD-D916CF937EAA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chemeClr val="bg1"/>
                        </a:solidFill>
                      </a:rPr>
                      <a:t>78%</a:t>
                    </a:r>
                  </a:p>
                </c:rich>
              </c:tx>
              <c:showPercent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3136-449D-89DD-D916CF937EAA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/>
                      <a:t>7%</a:t>
                    </a:r>
                  </a:p>
                </c:rich>
              </c:tx>
              <c:showPercent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3136-449D-89DD-D916CF937EAA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/>
                      <a:t>12%</a:t>
                    </a:r>
                  </a:p>
                </c:rich>
              </c:tx>
              <c:showPercent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3136-449D-89DD-D916CF937EAA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3136-449D-89DD-D916CF937EAA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>
                        <a:solidFill>
                          <a:schemeClr val="tx1"/>
                        </a:solidFill>
                      </a:rPr>
                      <a:t>3%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numFmt formatCode="0.00%" sourceLinked="0"/>
              <c:spPr>
                <a:noFill/>
                <a:ln w="25400">
                  <a:noFill/>
                </a:ln>
              </c:spPr>
              <c:showPercent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3136-449D-89DD-D916CF937EAA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3136-449D-89DD-D916CF937EAA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3136-449D-89DD-D916CF937EAA}"/>
                </c:ext>
                <c:ext xmlns:c15="http://schemas.microsoft.com/office/drawing/2012/chart" uri="{CE6537A1-D6FC-4f65-9D91-7224C49458BB}"/>
              </c:extLst>
            </c:dLbl>
            <c:numFmt formatCode="0.00%" sourceLinked="0"/>
            <c:spPr>
              <a:noFill/>
              <a:ln w="25400">
                <a:noFill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showPercent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3.5.6.'!$A$424:$A$430</c:f>
              <c:strCache>
                <c:ptCount val="7"/>
                <c:pt idx="0">
                  <c:v>EU-tagállamok</c:v>
                </c:pt>
                <c:pt idx="1">
                  <c:v>EU-n kívüli európai országok</c:v>
                </c:pt>
                <c:pt idx="2">
                  <c:v>Ázsiai országok</c:v>
                </c:pt>
                <c:pt idx="3">
                  <c:v>Afrikai országok</c:v>
                </c:pt>
                <c:pt idx="4">
                  <c:v>Észak-amerikai országok</c:v>
                </c:pt>
                <c:pt idx="5">
                  <c:v>Dél-amerikai országok</c:v>
                </c:pt>
                <c:pt idx="6">
                  <c:v>Auszrália és óceániai országok</c:v>
                </c:pt>
              </c:strCache>
            </c:strRef>
          </c:cat>
          <c:val>
            <c:numRef>
              <c:f>'3.5.6.'!$C$424:$C$430</c:f>
              <c:numCache>
                <c:formatCode>#,##0.0</c:formatCode>
                <c:ptCount val="7"/>
                <c:pt idx="0">
                  <c:v>20256891.532853</c:v>
                </c:pt>
                <c:pt idx="1">
                  <c:v>1812848.8777100001</c:v>
                </c:pt>
                <c:pt idx="2">
                  <c:v>3100135.8284780006</c:v>
                </c:pt>
                <c:pt idx="3">
                  <c:v>30795.017773000003</c:v>
                </c:pt>
                <c:pt idx="4">
                  <c:v>655064.20520200022</c:v>
                </c:pt>
                <c:pt idx="5">
                  <c:v>60478.033296000001</c:v>
                </c:pt>
                <c:pt idx="6">
                  <c:v>10642.7087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3136-449D-89DD-D916CF937EAA}"/>
            </c:ext>
          </c:extLst>
        </c:ser>
        <c:dLbls/>
        <c:firstSliceAng val="0"/>
      </c:pieChart>
      <c:spPr>
        <a:noFill/>
        <a:ln w="25400">
          <a:noFill/>
        </a:ln>
      </c:spPr>
    </c:plotArea>
    <c:legend>
      <c:legendPos val="b"/>
      <c:legendEntry>
        <c:idx val="3"/>
        <c:delete val="1"/>
      </c:legendEntry>
      <c:legendEntry>
        <c:idx val="5"/>
        <c:delete val="1"/>
      </c:legendEntry>
      <c:legendEntry>
        <c:idx val="6"/>
        <c:delete val="1"/>
      </c:legendEntry>
      <c:layout>
        <c:manualLayout>
          <c:xMode val="edge"/>
          <c:yMode val="edge"/>
          <c:x val="0"/>
          <c:y val="0.83723643810593462"/>
          <c:w val="1"/>
          <c:h val="0.14987560973721148"/>
        </c:manualLayout>
      </c:layout>
      <c:spPr>
        <a:noFill/>
        <a:ln w="25400">
          <a:noFill/>
        </a:ln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zero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hu-H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hu-HU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7728202910986367E-2"/>
          <c:y val="1.9120959575042288E-2"/>
          <c:w val="0.93395456594430648"/>
          <c:h val="0.72764677239772713"/>
        </c:manualLayout>
      </c:layout>
      <c:lineChart>
        <c:grouping val="standard"/>
        <c:ser>
          <c:idx val="0"/>
          <c:order val="0"/>
          <c:tx>
            <c:strRef>
              <c:f>Államadósságok!$A$3</c:f>
              <c:strCache>
                <c:ptCount val="1"/>
                <c:pt idx="0">
                  <c:v>Horvátország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numRef>
              <c:f>Államadósságok!$B$2:$AF$2</c:f>
              <c:numCache>
                <c:formatCode>General</c:formatCode>
                <c:ptCount val="3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</c:numCache>
            </c:numRef>
          </c:cat>
          <c:val>
            <c:numRef>
              <c:f>Államadósságok!$B$3:$AF$3</c:f>
              <c:numCache>
                <c:formatCode>General</c:formatCode>
                <c:ptCount val="31"/>
                <c:pt idx="0">
                  <c:v>5.6</c:v>
                </c:pt>
                <c:pt idx="1">
                  <c:v>7.8</c:v>
                </c:pt>
                <c:pt idx="2">
                  <c:v>9.6</c:v>
                </c:pt>
                <c:pt idx="3">
                  <c:v>12.4</c:v>
                </c:pt>
                <c:pt idx="4">
                  <c:v>15.5</c:v>
                </c:pt>
                <c:pt idx="5" formatCode="0.00">
                  <c:v>19.399999999999999</c:v>
                </c:pt>
                <c:pt idx="6" formatCode="0.00">
                  <c:v>22.9</c:v>
                </c:pt>
                <c:pt idx="7" formatCode="0.00">
                  <c:v>26.5</c:v>
                </c:pt>
                <c:pt idx="8" formatCode="0.00">
                  <c:v>30.1</c:v>
                </c:pt>
                <c:pt idx="9" formatCode="0.00">
                  <c:v>32.700000000000003</c:v>
                </c:pt>
                <c:pt idx="10" formatCode="0.00">
                  <c:v>34.9</c:v>
                </c:pt>
                <c:pt idx="11" formatCode="0.00">
                  <c:v>36</c:v>
                </c:pt>
                <c:pt idx="12" formatCode="0.00">
                  <c:v>36.6</c:v>
                </c:pt>
                <c:pt idx="13" formatCode="0.00">
                  <c:v>38.1</c:v>
                </c:pt>
                <c:pt idx="14" formatCode="0.00">
                  <c:v>40.4</c:v>
                </c:pt>
                <c:pt idx="15" formatCode="0.00">
                  <c:v>41.3</c:v>
                </c:pt>
                <c:pt idx="16" formatCode="0.00">
                  <c:v>38.9</c:v>
                </c:pt>
                <c:pt idx="17" formatCode="0.00">
                  <c:v>37.700000000000003</c:v>
                </c:pt>
                <c:pt idx="18" formatCode="0.00">
                  <c:v>39.6</c:v>
                </c:pt>
                <c:pt idx="19" formatCode="0.00">
                  <c:v>49</c:v>
                </c:pt>
                <c:pt idx="20" formatCode="0.00">
                  <c:v>58.3</c:v>
                </c:pt>
                <c:pt idx="21" formatCode="0.00">
                  <c:v>65.2</c:v>
                </c:pt>
                <c:pt idx="22" formatCode="0.00">
                  <c:v>70.7</c:v>
                </c:pt>
                <c:pt idx="23" formatCode="0.00">
                  <c:v>82.2</c:v>
                </c:pt>
                <c:pt idx="24" formatCode="0.00">
                  <c:v>86.6</c:v>
                </c:pt>
                <c:pt idx="25" formatCode="0.00">
                  <c:v>83.7</c:v>
                </c:pt>
                <c:pt idx="26" formatCode="0.00">
                  <c:v>80.5</c:v>
                </c:pt>
                <c:pt idx="27" formatCode="0.00">
                  <c:v>77.8</c:v>
                </c:pt>
                <c:pt idx="28" formatCode="0.00">
                  <c:v>74.599999999999994</c:v>
                </c:pt>
                <c:pt idx="29" formatCode="0.00">
                  <c:v>70.900000000000006</c:v>
                </c:pt>
                <c:pt idx="30" formatCode="0.00">
                  <c:v>67.59999999999999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AAA-4A5F-A99A-EE93B34DA0EF}"/>
            </c:ext>
          </c:extLst>
        </c:ser>
        <c:ser>
          <c:idx val="1"/>
          <c:order val="1"/>
          <c:tx>
            <c:strRef>
              <c:f>Államadósságok!$A$4</c:f>
              <c:strCache>
                <c:ptCount val="1"/>
                <c:pt idx="0">
                  <c:v>Csehország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Államadósságok!$B$2:$AF$2</c:f>
              <c:numCache>
                <c:formatCode>General</c:formatCode>
                <c:ptCount val="3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</c:numCache>
            </c:numRef>
          </c:cat>
          <c:val>
            <c:numRef>
              <c:f>Államadósságok!$B$4:$AF$4</c:f>
              <c:numCache>
                <c:formatCode>0.0</c:formatCode>
                <c:ptCount val="31"/>
                <c:pt idx="0">
                  <c:v>13.622291021671826</c:v>
                </c:pt>
                <c:pt idx="1">
                  <c:v>29.527559055118115</c:v>
                </c:pt>
                <c:pt idx="2">
                  <c:v>23.333333333333325</c:v>
                </c:pt>
                <c:pt idx="3">
                  <c:v>24.70930232558139</c:v>
                </c:pt>
                <c:pt idx="4">
                  <c:v>26.817042606516292</c:v>
                </c:pt>
                <c:pt idx="5">
                  <c:v>31.730769230769219</c:v>
                </c:pt>
                <c:pt idx="6">
                  <c:v>35.924006908462871</c:v>
                </c:pt>
                <c:pt idx="7" formatCode="0.00">
                  <c:v>12.1</c:v>
                </c:pt>
                <c:pt idx="8" formatCode="0.00">
                  <c:v>13.9</c:v>
                </c:pt>
                <c:pt idx="9" formatCode="0.00">
                  <c:v>15.2</c:v>
                </c:pt>
                <c:pt idx="10" formatCode="0.00">
                  <c:v>17</c:v>
                </c:pt>
                <c:pt idx="11" formatCode="0.00">
                  <c:v>22.8</c:v>
                </c:pt>
                <c:pt idx="12" formatCode="0.00">
                  <c:v>25.9</c:v>
                </c:pt>
                <c:pt idx="13" formatCode="0.00">
                  <c:v>28.1</c:v>
                </c:pt>
                <c:pt idx="14" formatCode="0.00">
                  <c:v>28.5</c:v>
                </c:pt>
                <c:pt idx="15" formatCode="0.00">
                  <c:v>28</c:v>
                </c:pt>
                <c:pt idx="16" formatCode="0.00">
                  <c:v>27.9</c:v>
                </c:pt>
                <c:pt idx="17" formatCode="0.00">
                  <c:v>27.8</c:v>
                </c:pt>
                <c:pt idx="18" formatCode="0.00">
                  <c:v>28.7</c:v>
                </c:pt>
                <c:pt idx="19" formatCode="0.00">
                  <c:v>34.1</c:v>
                </c:pt>
                <c:pt idx="20" formatCode="0.00">
                  <c:v>38.200000000000003</c:v>
                </c:pt>
                <c:pt idx="21" formatCode="0.00">
                  <c:v>39.800000000000011</c:v>
                </c:pt>
                <c:pt idx="22" formatCode="0.00">
                  <c:v>44.5</c:v>
                </c:pt>
                <c:pt idx="23" formatCode="0.00">
                  <c:v>44.9</c:v>
                </c:pt>
                <c:pt idx="24" formatCode="0.00">
                  <c:v>42.2</c:v>
                </c:pt>
                <c:pt idx="25" formatCode="0.00">
                  <c:v>40</c:v>
                </c:pt>
                <c:pt idx="26" formatCode="0.00">
                  <c:v>36.800000000000011</c:v>
                </c:pt>
                <c:pt idx="27" formatCode="0.00">
                  <c:v>34.700000000000003</c:v>
                </c:pt>
                <c:pt idx="28" formatCode="0.00">
                  <c:v>32.700000000000003</c:v>
                </c:pt>
                <c:pt idx="29" formatCode="0.00">
                  <c:v>31.7</c:v>
                </c:pt>
                <c:pt idx="30" formatCode="0.00">
                  <c:v>31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AAA-4A5F-A99A-EE93B34DA0EF}"/>
            </c:ext>
          </c:extLst>
        </c:ser>
        <c:ser>
          <c:idx val="2"/>
          <c:order val="2"/>
          <c:tx>
            <c:strRef>
              <c:f>Államadósságok!$A$5</c:f>
              <c:strCache>
                <c:ptCount val="1"/>
                <c:pt idx="0">
                  <c:v>Magyarország</c:v>
                </c:pt>
              </c:strCache>
            </c:strRef>
          </c:tx>
          <c:spPr>
            <a:ln w="63500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Államadósságok!$B$2:$AF$2</c:f>
              <c:numCache>
                <c:formatCode>General</c:formatCode>
                <c:ptCount val="3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</c:numCache>
            </c:numRef>
          </c:cat>
          <c:val>
            <c:numRef>
              <c:f>Államadósságok!$B$5:$AF$5</c:f>
              <c:numCache>
                <c:formatCode>General</c:formatCode>
                <c:ptCount val="31"/>
                <c:pt idx="0">
                  <c:v>65</c:v>
                </c:pt>
                <c:pt idx="1">
                  <c:v>68.3</c:v>
                </c:pt>
                <c:pt idx="2">
                  <c:v>78.2</c:v>
                </c:pt>
                <c:pt idx="3">
                  <c:v>86.3</c:v>
                </c:pt>
                <c:pt idx="4">
                  <c:v>68.7</c:v>
                </c:pt>
                <c:pt idx="5" formatCode="0.00">
                  <c:v>70.900000000000006</c:v>
                </c:pt>
                <c:pt idx="6" formatCode="0.00">
                  <c:v>71.5</c:v>
                </c:pt>
                <c:pt idx="7" formatCode="0.00">
                  <c:v>62.1</c:v>
                </c:pt>
                <c:pt idx="8" formatCode="0.00">
                  <c:v>60</c:v>
                </c:pt>
                <c:pt idx="9" formatCode="0.00">
                  <c:v>59.8</c:v>
                </c:pt>
                <c:pt idx="10" formatCode="0.00">
                  <c:v>55.1</c:v>
                </c:pt>
                <c:pt idx="11" formatCode="0.00">
                  <c:v>51.7</c:v>
                </c:pt>
                <c:pt idx="12" formatCode="0.00">
                  <c:v>55</c:v>
                </c:pt>
                <c:pt idx="13" formatCode="0.00">
                  <c:v>57.6</c:v>
                </c:pt>
                <c:pt idx="14" formatCode="0.00">
                  <c:v>58.5</c:v>
                </c:pt>
                <c:pt idx="15" formatCode="0.00">
                  <c:v>60.5</c:v>
                </c:pt>
                <c:pt idx="16" formatCode="0.00">
                  <c:v>64.599999999999994</c:v>
                </c:pt>
                <c:pt idx="17" formatCode="0.00">
                  <c:v>65.599999999999994</c:v>
                </c:pt>
                <c:pt idx="18" formatCode="0.00">
                  <c:v>71.599999999999994</c:v>
                </c:pt>
                <c:pt idx="19" formatCode="0.00">
                  <c:v>77.8</c:v>
                </c:pt>
                <c:pt idx="20" formatCode="0.00">
                  <c:v>80.5</c:v>
                </c:pt>
                <c:pt idx="21" formatCode="0.00">
                  <c:v>80.7</c:v>
                </c:pt>
                <c:pt idx="22" formatCode="0.00">
                  <c:v>78.2</c:v>
                </c:pt>
                <c:pt idx="23" formatCode="0.00">
                  <c:v>76.599999999999994</c:v>
                </c:pt>
                <c:pt idx="24" formatCode="0.00">
                  <c:v>75.7</c:v>
                </c:pt>
                <c:pt idx="25" formatCode="0.00">
                  <c:v>76.7</c:v>
                </c:pt>
                <c:pt idx="26" formatCode="0.00">
                  <c:v>76</c:v>
                </c:pt>
                <c:pt idx="27" formatCode="0.00">
                  <c:v>73.400000000000006</c:v>
                </c:pt>
                <c:pt idx="28" formatCode="0.00">
                  <c:v>70.8</c:v>
                </c:pt>
                <c:pt idx="29" formatCode="0.00">
                  <c:v>69.2</c:v>
                </c:pt>
                <c:pt idx="30" formatCode="0.00">
                  <c:v>67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FAAA-4A5F-A99A-EE93B34DA0EF}"/>
            </c:ext>
          </c:extLst>
        </c:ser>
        <c:ser>
          <c:idx val="3"/>
          <c:order val="3"/>
          <c:tx>
            <c:strRef>
              <c:f>Államadósságok!$A$6</c:f>
              <c:strCache>
                <c:ptCount val="1"/>
                <c:pt idx="0">
                  <c:v>Lengyelország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Államadósságok!$B$2:$AF$2</c:f>
              <c:numCache>
                <c:formatCode>General</c:formatCode>
                <c:ptCount val="3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</c:numCache>
            </c:numRef>
          </c:cat>
          <c:val>
            <c:numRef>
              <c:f>Államadósságok!$B$6:$AF$6</c:f>
              <c:numCache>
                <c:formatCode>General</c:formatCode>
                <c:ptCount val="31"/>
                <c:pt idx="0">
                  <c:v>82.2</c:v>
                </c:pt>
                <c:pt idx="1">
                  <c:v>63.4</c:v>
                </c:pt>
                <c:pt idx="2">
                  <c:v>55.8</c:v>
                </c:pt>
                <c:pt idx="3">
                  <c:v>55</c:v>
                </c:pt>
                <c:pt idx="4">
                  <c:v>45.6</c:v>
                </c:pt>
                <c:pt idx="5" formatCode="0.00">
                  <c:v>47.6</c:v>
                </c:pt>
                <c:pt idx="6" formatCode="0.00">
                  <c:v>42.4</c:v>
                </c:pt>
                <c:pt idx="7" formatCode="0.00">
                  <c:v>42.3</c:v>
                </c:pt>
                <c:pt idx="8" formatCode="0.00">
                  <c:v>38.4</c:v>
                </c:pt>
                <c:pt idx="9" formatCode="0.00">
                  <c:v>39</c:v>
                </c:pt>
                <c:pt idx="10" formatCode="0.00">
                  <c:v>36.5</c:v>
                </c:pt>
                <c:pt idx="11" formatCode="0.00">
                  <c:v>37.300000000000011</c:v>
                </c:pt>
                <c:pt idx="12" formatCode="0.00">
                  <c:v>41.8</c:v>
                </c:pt>
                <c:pt idx="13" formatCode="0.00">
                  <c:v>46.6</c:v>
                </c:pt>
                <c:pt idx="14" formatCode="0.00">
                  <c:v>45</c:v>
                </c:pt>
                <c:pt idx="15" formatCode="0.00">
                  <c:v>46.4</c:v>
                </c:pt>
                <c:pt idx="16" formatCode="0.00">
                  <c:v>46.9</c:v>
                </c:pt>
                <c:pt idx="17" formatCode="0.00">
                  <c:v>44.2</c:v>
                </c:pt>
                <c:pt idx="18" formatCode="0.00">
                  <c:v>46.3</c:v>
                </c:pt>
                <c:pt idx="19" formatCode="0.00">
                  <c:v>49.4</c:v>
                </c:pt>
                <c:pt idx="20" formatCode="0.00">
                  <c:v>53.1</c:v>
                </c:pt>
                <c:pt idx="21" formatCode="0.00">
                  <c:v>54.1</c:v>
                </c:pt>
                <c:pt idx="22" formatCode="0.00">
                  <c:v>53.7</c:v>
                </c:pt>
                <c:pt idx="23" formatCode="0.00">
                  <c:v>55.7</c:v>
                </c:pt>
                <c:pt idx="24" formatCode="0.00">
                  <c:v>50.2</c:v>
                </c:pt>
                <c:pt idx="25" formatCode="0.00">
                  <c:v>51.3</c:v>
                </c:pt>
                <c:pt idx="26" formatCode="0.00">
                  <c:v>54.2</c:v>
                </c:pt>
                <c:pt idx="27" formatCode="0.00">
                  <c:v>50.6</c:v>
                </c:pt>
                <c:pt idx="28" formatCode="0.00">
                  <c:v>48.9</c:v>
                </c:pt>
                <c:pt idx="29" formatCode="0.00">
                  <c:v>48.2</c:v>
                </c:pt>
                <c:pt idx="30" formatCode="0.00">
                  <c:v>47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FAAA-4A5F-A99A-EE93B34DA0EF}"/>
            </c:ext>
          </c:extLst>
        </c:ser>
        <c:ser>
          <c:idx val="4"/>
          <c:order val="4"/>
          <c:tx>
            <c:strRef>
              <c:f>Államadósságok!$A$7</c:f>
              <c:strCache>
                <c:ptCount val="1"/>
                <c:pt idx="0">
                  <c:v>Románia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Államadósságok!$B$2:$AF$2</c:f>
              <c:numCache>
                <c:formatCode>General</c:formatCode>
                <c:ptCount val="3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</c:numCache>
            </c:numRef>
          </c:cat>
          <c:val>
            <c:numRef>
              <c:f>Államadósságok!$B$7:$AF$7</c:f>
              <c:numCache>
                <c:formatCode>General</c:formatCode>
                <c:ptCount val="31"/>
                <c:pt idx="0">
                  <c:v>0.5</c:v>
                </c:pt>
                <c:pt idx="1">
                  <c:v>3.8</c:v>
                </c:pt>
                <c:pt idx="2">
                  <c:v>12.8</c:v>
                </c:pt>
                <c:pt idx="3">
                  <c:v>12.5</c:v>
                </c:pt>
                <c:pt idx="4">
                  <c:v>15.2</c:v>
                </c:pt>
                <c:pt idx="5" formatCode="0.00">
                  <c:v>15.9</c:v>
                </c:pt>
                <c:pt idx="6" formatCode="0.00">
                  <c:v>10.6</c:v>
                </c:pt>
                <c:pt idx="7" formatCode="0.00">
                  <c:v>14.9</c:v>
                </c:pt>
                <c:pt idx="8" formatCode="0.00">
                  <c:v>16.7</c:v>
                </c:pt>
                <c:pt idx="9" formatCode="0.00">
                  <c:v>21.6</c:v>
                </c:pt>
                <c:pt idx="10" formatCode="0.00">
                  <c:v>22.4</c:v>
                </c:pt>
                <c:pt idx="11" formatCode="0.00">
                  <c:v>25.7</c:v>
                </c:pt>
                <c:pt idx="12" formatCode="0.00">
                  <c:v>24.8</c:v>
                </c:pt>
                <c:pt idx="13" formatCode="0.00">
                  <c:v>21.3</c:v>
                </c:pt>
                <c:pt idx="14" formatCode="0.00">
                  <c:v>18.600000000000001</c:v>
                </c:pt>
                <c:pt idx="15" formatCode="0.00">
                  <c:v>15.7</c:v>
                </c:pt>
                <c:pt idx="16" formatCode="0.00">
                  <c:v>12.3</c:v>
                </c:pt>
                <c:pt idx="17" formatCode="0.00">
                  <c:v>12.7</c:v>
                </c:pt>
                <c:pt idx="18" formatCode="0.00">
                  <c:v>13.2</c:v>
                </c:pt>
                <c:pt idx="19" formatCode="0.00">
                  <c:v>23.2</c:v>
                </c:pt>
                <c:pt idx="20" formatCode="0.00">
                  <c:v>29.9</c:v>
                </c:pt>
                <c:pt idx="21" formatCode="0.00">
                  <c:v>34.200000000000003</c:v>
                </c:pt>
                <c:pt idx="22" formatCode="0.00">
                  <c:v>37.300000000000011</c:v>
                </c:pt>
                <c:pt idx="23" formatCode="0.00">
                  <c:v>37.800000000000011</c:v>
                </c:pt>
                <c:pt idx="24" formatCode="0.00">
                  <c:v>39.4</c:v>
                </c:pt>
                <c:pt idx="25" formatCode="0.00">
                  <c:v>37.800000000000011</c:v>
                </c:pt>
                <c:pt idx="26" formatCode="0.00">
                  <c:v>37.300000000000011</c:v>
                </c:pt>
                <c:pt idx="27" formatCode="0.00">
                  <c:v>35.200000000000003</c:v>
                </c:pt>
                <c:pt idx="28" formatCode="0.00">
                  <c:v>35</c:v>
                </c:pt>
                <c:pt idx="29" formatCode="0.00">
                  <c:v>36</c:v>
                </c:pt>
                <c:pt idx="30" formatCode="0.00">
                  <c:v>38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FAAA-4A5F-A99A-EE93B34DA0EF}"/>
            </c:ext>
          </c:extLst>
        </c:ser>
        <c:ser>
          <c:idx val="5"/>
          <c:order val="5"/>
          <c:tx>
            <c:strRef>
              <c:f>Államadósságok!$A$8</c:f>
              <c:strCache>
                <c:ptCount val="1"/>
                <c:pt idx="0">
                  <c:v>Szlovénia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Államadósságok!$B$2:$AF$2</c:f>
              <c:numCache>
                <c:formatCode>General</c:formatCode>
                <c:ptCount val="3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</c:numCache>
            </c:numRef>
          </c:cat>
          <c:val>
            <c:numRef>
              <c:f>Államadósságok!$B$8:$AF$8</c:f>
              <c:numCache>
                <c:formatCode>General</c:formatCode>
                <c:ptCount val="31"/>
                <c:pt idx="0">
                  <c:v>10.9</c:v>
                </c:pt>
                <c:pt idx="1">
                  <c:v>15.1</c:v>
                </c:pt>
                <c:pt idx="2">
                  <c:v>13.6</c:v>
                </c:pt>
                <c:pt idx="3">
                  <c:v>15</c:v>
                </c:pt>
                <c:pt idx="4">
                  <c:v>1.6</c:v>
                </c:pt>
                <c:pt idx="5" formatCode="0.00">
                  <c:v>18.3</c:v>
                </c:pt>
                <c:pt idx="6" formatCode="0.00">
                  <c:v>21.6</c:v>
                </c:pt>
                <c:pt idx="7" formatCode="0.00">
                  <c:v>22.1</c:v>
                </c:pt>
                <c:pt idx="8" formatCode="0.00">
                  <c:v>22.8</c:v>
                </c:pt>
                <c:pt idx="9" formatCode="0.00">
                  <c:v>23.7</c:v>
                </c:pt>
                <c:pt idx="10" formatCode="0.00">
                  <c:v>25.9</c:v>
                </c:pt>
                <c:pt idx="11" formatCode="0.00">
                  <c:v>26.1</c:v>
                </c:pt>
                <c:pt idx="12" formatCode="0.00">
                  <c:v>27.3</c:v>
                </c:pt>
                <c:pt idx="13" formatCode="0.00">
                  <c:v>26.7</c:v>
                </c:pt>
                <c:pt idx="14" formatCode="0.00">
                  <c:v>26.8</c:v>
                </c:pt>
                <c:pt idx="15" formatCode="0.00">
                  <c:v>26.3</c:v>
                </c:pt>
                <c:pt idx="16" formatCode="0.00">
                  <c:v>26</c:v>
                </c:pt>
                <c:pt idx="17" formatCode="0.00">
                  <c:v>22.8</c:v>
                </c:pt>
                <c:pt idx="18" formatCode="0.00">
                  <c:v>21.8</c:v>
                </c:pt>
                <c:pt idx="19" formatCode="0.00">
                  <c:v>34.6</c:v>
                </c:pt>
                <c:pt idx="20" formatCode="0.00">
                  <c:v>38.4</c:v>
                </c:pt>
                <c:pt idx="21" formatCode="0.00">
                  <c:v>46.6</c:v>
                </c:pt>
                <c:pt idx="22" formatCode="0.00">
                  <c:v>53.9</c:v>
                </c:pt>
                <c:pt idx="23" formatCode="0.00">
                  <c:v>71</c:v>
                </c:pt>
                <c:pt idx="24" formatCode="0.00">
                  <c:v>80.900000000000006</c:v>
                </c:pt>
                <c:pt idx="25" formatCode="0.00">
                  <c:v>82.6</c:v>
                </c:pt>
                <c:pt idx="26" formatCode="0.00">
                  <c:v>78.7</c:v>
                </c:pt>
                <c:pt idx="27" formatCode="0.00">
                  <c:v>74.099999999999994</c:v>
                </c:pt>
                <c:pt idx="28" formatCode="0.00">
                  <c:v>70.099999999999994</c:v>
                </c:pt>
                <c:pt idx="29" formatCode="0.00">
                  <c:v>65.900000000000006</c:v>
                </c:pt>
                <c:pt idx="30" formatCode="0.00">
                  <c:v>61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FAAA-4A5F-A99A-EE93B34DA0EF}"/>
            </c:ext>
          </c:extLst>
        </c:ser>
        <c:ser>
          <c:idx val="6"/>
          <c:order val="6"/>
          <c:tx>
            <c:strRef>
              <c:f>Államadósságok!$A$9</c:f>
              <c:strCache>
                <c:ptCount val="1"/>
                <c:pt idx="0">
                  <c:v>Szlovákia</c:v>
                </c:pt>
              </c:strCache>
            </c:strRef>
          </c:tx>
          <c:spPr>
            <a:ln w="28575" cap="rnd">
              <a:solidFill>
                <a:srgbClr val="70AD47">
                  <a:lumMod val="50000"/>
                </a:srgbClr>
              </a:solidFill>
              <a:round/>
            </a:ln>
            <a:effectLst/>
          </c:spPr>
          <c:marker>
            <c:symbol val="none"/>
          </c:marker>
          <c:cat>
            <c:numRef>
              <c:f>Államadósságok!$B$2:$AF$2</c:f>
              <c:numCache>
                <c:formatCode>General</c:formatCode>
                <c:ptCount val="3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</c:numCache>
            </c:numRef>
          </c:cat>
          <c:val>
            <c:numRef>
              <c:f>Államadósságok!$B$9:$AF$9</c:f>
              <c:numCache>
                <c:formatCode>General</c:formatCode>
                <c:ptCount val="31"/>
                <c:pt idx="0">
                  <c:v>9.7000000000000011</c:v>
                </c:pt>
                <c:pt idx="1">
                  <c:v>16.7</c:v>
                </c:pt>
                <c:pt idx="2">
                  <c:v>24.8</c:v>
                </c:pt>
                <c:pt idx="3">
                  <c:v>30</c:v>
                </c:pt>
                <c:pt idx="4">
                  <c:v>31.1</c:v>
                </c:pt>
                <c:pt idx="5" formatCode="0.00">
                  <c:v>21.7</c:v>
                </c:pt>
                <c:pt idx="6" formatCode="0.00">
                  <c:v>30.5</c:v>
                </c:pt>
                <c:pt idx="7" formatCode="0.00">
                  <c:v>33</c:v>
                </c:pt>
                <c:pt idx="8" formatCode="0.00">
                  <c:v>33.9</c:v>
                </c:pt>
                <c:pt idx="9" formatCode="0.00">
                  <c:v>47.1</c:v>
                </c:pt>
                <c:pt idx="10" formatCode="0.00">
                  <c:v>49.6</c:v>
                </c:pt>
                <c:pt idx="11" formatCode="0.00">
                  <c:v>48.3</c:v>
                </c:pt>
                <c:pt idx="12" formatCode="0.00">
                  <c:v>42.9</c:v>
                </c:pt>
                <c:pt idx="13" formatCode="0.00">
                  <c:v>41.6</c:v>
                </c:pt>
                <c:pt idx="14" formatCode="0.00">
                  <c:v>40.6</c:v>
                </c:pt>
                <c:pt idx="15" formatCode="0.00">
                  <c:v>34.1</c:v>
                </c:pt>
                <c:pt idx="16" formatCode="0.00">
                  <c:v>31</c:v>
                </c:pt>
                <c:pt idx="17" formatCode="0.00">
                  <c:v>30.1</c:v>
                </c:pt>
                <c:pt idx="18" formatCode="0.00">
                  <c:v>28.5</c:v>
                </c:pt>
                <c:pt idx="19" formatCode="0.00">
                  <c:v>36.300000000000011</c:v>
                </c:pt>
                <c:pt idx="20" formatCode="0.00">
                  <c:v>41.2</c:v>
                </c:pt>
                <c:pt idx="21" formatCode="0.00">
                  <c:v>43.7</c:v>
                </c:pt>
                <c:pt idx="22" formatCode="0.00">
                  <c:v>52.2</c:v>
                </c:pt>
                <c:pt idx="23" formatCode="0.00">
                  <c:v>54.7</c:v>
                </c:pt>
                <c:pt idx="24" formatCode="0.00">
                  <c:v>53.9</c:v>
                </c:pt>
                <c:pt idx="25" formatCode="0.00">
                  <c:v>52.2</c:v>
                </c:pt>
                <c:pt idx="26" formatCode="0.00">
                  <c:v>51.8</c:v>
                </c:pt>
                <c:pt idx="27" formatCode="0.00">
                  <c:v>50.9</c:v>
                </c:pt>
                <c:pt idx="28" formatCode="0.00">
                  <c:v>48.9</c:v>
                </c:pt>
                <c:pt idx="29" formatCode="0.00">
                  <c:v>47.3</c:v>
                </c:pt>
                <c:pt idx="30" formatCode="0.00">
                  <c:v>4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FAAA-4A5F-A99A-EE93B34DA0EF}"/>
            </c:ext>
          </c:extLst>
        </c:ser>
        <c:ser>
          <c:idx val="7"/>
          <c:order val="7"/>
          <c:tx>
            <c:strRef>
              <c:f>Államadósságok!$A$10</c:f>
              <c:strCache>
                <c:ptCount val="1"/>
                <c:pt idx="0">
                  <c:v>Észtország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Államadósságok!$B$2:$AF$2</c:f>
              <c:numCache>
                <c:formatCode>General</c:formatCode>
                <c:ptCount val="3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</c:numCache>
            </c:numRef>
          </c:cat>
          <c:val>
            <c:numRef>
              <c:f>Államadósságok!$B$10:$AF$10</c:f>
              <c:numCache>
                <c:formatCode>General</c:formatCode>
                <c:ptCount val="31"/>
                <c:pt idx="0">
                  <c:v>4.5</c:v>
                </c:pt>
                <c:pt idx="1">
                  <c:v>9.9</c:v>
                </c:pt>
                <c:pt idx="2">
                  <c:v>6</c:v>
                </c:pt>
                <c:pt idx="3">
                  <c:v>7.5</c:v>
                </c:pt>
                <c:pt idx="4">
                  <c:v>8</c:v>
                </c:pt>
                <c:pt idx="5" formatCode="0.00">
                  <c:v>8.2000000000000011</c:v>
                </c:pt>
                <c:pt idx="6" formatCode="0.00">
                  <c:v>7.5</c:v>
                </c:pt>
                <c:pt idx="7" formatCode="0.00">
                  <c:v>7</c:v>
                </c:pt>
                <c:pt idx="8" formatCode="0.00">
                  <c:v>6</c:v>
                </c:pt>
                <c:pt idx="9" formatCode="0.00">
                  <c:v>6.5</c:v>
                </c:pt>
                <c:pt idx="10" formatCode="0.00">
                  <c:v>5.0999999999999996</c:v>
                </c:pt>
                <c:pt idx="11" formatCode="0.00">
                  <c:v>4.8</c:v>
                </c:pt>
                <c:pt idx="12" formatCode="0.00">
                  <c:v>5.7</c:v>
                </c:pt>
                <c:pt idx="13" formatCode="0.00">
                  <c:v>5.6</c:v>
                </c:pt>
                <c:pt idx="14" formatCode="0.00">
                  <c:v>5.0999999999999996</c:v>
                </c:pt>
                <c:pt idx="15" formatCode="0.00">
                  <c:v>4.5</c:v>
                </c:pt>
                <c:pt idx="16" formatCode="0.00">
                  <c:v>4.4000000000000004</c:v>
                </c:pt>
                <c:pt idx="17" formatCode="0.00">
                  <c:v>3.7</c:v>
                </c:pt>
                <c:pt idx="18" formatCode="0.00">
                  <c:v>4.5</c:v>
                </c:pt>
                <c:pt idx="19" formatCode="0.00">
                  <c:v>7</c:v>
                </c:pt>
                <c:pt idx="20" formatCode="0.00">
                  <c:v>6.6</c:v>
                </c:pt>
                <c:pt idx="21" formatCode="0.00">
                  <c:v>6.1</c:v>
                </c:pt>
                <c:pt idx="22" formatCode="0.00">
                  <c:v>9.7000000000000011</c:v>
                </c:pt>
                <c:pt idx="23" formatCode="0.00">
                  <c:v>10.200000000000001</c:v>
                </c:pt>
                <c:pt idx="24" formatCode="0.00">
                  <c:v>10.7</c:v>
                </c:pt>
                <c:pt idx="25" formatCode="0.00">
                  <c:v>9.9</c:v>
                </c:pt>
                <c:pt idx="26" formatCode="0.00">
                  <c:v>9.2000000000000011</c:v>
                </c:pt>
                <c:pt idx="27" formatCode="0.00">
                  <c:v>9.2000000000000011</c:v>
                </c:pt>
                <c:pt idx="28" formatCode="0.00">
                  <c:v>8.4</c:v>
                </c:pt>
                <c:pt idx="29" formatCode="0.00">
                  <c:v>8.5</c:v>
                </c:pt>
                <c:pt idx="30" formatCode="0.00">
                  <c:v>8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FAAA-4A5F-A99A-EE93B34DA0EF}"/>
            </c:ext>
          </c:extLst>
        </c:ser>
        <c:ser>
          <c:idx val="8"/>
          <c:order val="8"/>
          <c:tx>
            <c:strRef>
              <c:f>Államadósságok!$A$11</c:f>
              <c:strCache>
                <c:ptCount val="1"/>
                <c:pt idx="0">
                  <c:v>Lettország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numRef>
              <c:f>Államadósságok!$B$2:$AF$2</c:f>
              <c:numCache>
                <c:formatCode>General</c:formatCode>
                <c:ptCount val="3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</c:numCache>
            </c:numRef>
          </c:cat>
          <c:val>
            <c:numRef>
              <c:f>Államadósságok!$B$11:$AF$11</c:f>
              <c:numCache>
                <c:formatCode>General</c:formatCode>
                <c:ptCount val="31"/>
                <c:pt idx="0">
                  <c:v>4</c:v>
                </c:pt>
                <c:pt idx="1">
                  <c:v>7.5</c:v>
                </c:pt>
                <c:pt idx="2">
                  <c:v>9.5</c:v>
                </c:pt>
                <c:pt idx="3">
                  <c:v>10</c:v>
                </c:pt>
                <c:pt idx="4">
                  <c:v>11.5</c:v>
                </c:pt>
                <c:pt idx="5" formatCode="0.00">
                  <c:v>13.9</c:v>
                </c:pt>
                <c:pt idx="6" formatCode="0.00">
                  <c:v>13.3</c:v>
                </c:pt>
                <c:pt idx="7" formatCode="0.00">
                  <c:v>10.6</c:v>
                </c:pt>
                <c:pt idx="8" formatCode="0.00">
                  <c:v>9</c:v>
                </c:pt>
                <c:pt idx="9" formatCode="0.00">
                  <c:v>12.1</c:v>
                </c:pt>
                <c:pt idx="10" formatCode="0.00">
                  <c:v>12.1</c:v>
                </c:pt>
                <c:pt idx="11" formatCode="0.00">
                  <c:v>13.9</c:v>
                </c:pt>
                <c:pt idx="12" formatCode="0.00">
                  <c:v>13.1</c:v>
                </c:pt>
                <c:pt idx="13" formatCode="0.00">
                  <c:v>13.9</c:v>
                </c:pt>
                <c:pt idx="14" formatCode="0.00">
                  <c:v>14.3</c:v>
                </c:pt>
                <c:pt idx="15" formatCode="0.00">
                  <c:v>11.7</c:v>
                </c:pt>
                <c:pt idx="16" formatCode="0.00">
                  <c:v>9.9</c:v>
                </c:pt>
                <c:pt idx="17" formatCode="0.00">
                  <c:v>8.4</c:v>
                </c:pt>
                <c:pt idx="18" formatCode="0.00">
                  <c:v>18.7</c:v>
                </c:pt>
                <c:pt idx="19" formatCode="0.00">
                  <c:v>36.6</c:v>
                </c:pt>
                <c:pt idx="20" formatCode="0.00">
                  <c:v>47.4</c:v>
                </c:pt>
                <c:pt idx="21" formatCode="0.00">
                  <c:v>42.8</c:v>
                </c:pt>
                <c:pt idx="22" formatCode="0.00">
                  <c:v>41.230000000000004</c:v>
                </c:pt>
                <c:pt idx="23" formatCode="0.00">
                  <c:v>39</c:v>
                </c:pt>
                <c:pt idx="24" formatCode="0.00">
                  <c:v>40.700000000000003</c:v>
                </c:pt>
                <c:pt idx="25" formatCode="0.00">
                  <c:v>36.800000000000011</c:v>
                </c:pt>
                <c:pt idx="26" formatCode="0.00">
                  <c:v>40.300000000000011</c:v>
                </c:pt>
                <c:pt idx="27" formatCode="0.00">
                  <c:v>40</c:v>
                </c:pt>
                <c:pt idx="28" formatCode="0.00">
                  <c:v>35.9</c:v>
                </c:pt>
                <c:pt idx="29" formatCode="0.00">
                  <c:v>34.5</c:v>
                </c:pt>
                <c:pt idx="30" formatCode="0.00">
                  <c:v>33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FAAA-4A5F-A99A-EE93B34DA0EF}"/>
            </c:ext>
          </c:extLst>
        </c:ser>
        <c:ser>
          <c:idx val="9"/>
          <c:order val="9"/>
          <c:tx>
            <c:strRef>
              <c:f>Államadósságok!$A$12</c:f>
              <c:strCache>
                <c:ptCount val="1"/>
                <c:pt idx="0">
                  <c:v>Litvánia</c:v>
                </c:pt>
              </c:strCache>
            </c:strRef>
          </c:tx>
          <c:spPr>
            <a:ln w="28575" cap="rnd">
              <a:solidFill>
                <a:srgbClr val="FF0066"/>
              </a:solidFill>
              <a:round/>
            </a:ln>
            <a:effectLst/>
          </c:spPr>
          <c:marker>
            <c:symbol val="none"/>
          </c:marker>
          <c:cat>
            <c:numRef>
              <c:f>Államadósságok!$B$2:$AF$2</c:f>
              <c:numCache>
                <c:formatCode>General</c:formatCode>
                <c:ptCount val="3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</c:numCache>
            </c:numRef>
          </c:cat>
          <c:val>
            <c:numRef>
              <c:f>Államadósságok!$B$12:$AF$12</c:f>
              <c:numCache>
                <c:formatCode>General</c:formatCode>
                <c:ptCount val="31"/>
                <c:pt idx="0">
                  <c:v>3</c:v>
                </c:pt>
                <c:pt idx="1">
                  <c:v>3.1</c:v>
                </c:pt>
                <c:pt idx="2">
                  <c:v>8.2000000000000011</c:v>
                </c:pt>
                <c:pt idx="3">
                  <c:v>9.4</c:v>
                </c:pt>
                <c:pt idx="4">
                  <c:v>10.6</c:v>
                </c:pt>
                <c:pt idx="5" formatCode="0.00">
                  <c:v>11.5</c:v>
                </c:pt>
                <c:pt idx="6" formatCode="0.00">
                  <c:v>13.9</c:v>
                </c:pt>
                <c:pt idx="7" formatCode="0.00">
                  <c:v>15.4</c:v>
                </c:pt>
                <c:pt idx="8" formatCode="0.00">
                  <c:v>16.5</c:v>
                </c:pt>
                <c:pt idx="9" formatCode="0.00">
                  <c:v>22.7</c:v>
                </c:pt>
                <c:pt idx="10" formatCode="0.00">
                  <c:v>23.5</c:v>
                </c:pt>
                <c:pt idx="11" formatCode="0.00">
                  <c:v>22.9</c:v>
                </c:pt>
                <c:pt idx="12" formatCode="0.00">
                  <c:v>22.1</c:v>
                </c:pt>
                <c:pt idx="13" formatCode="0.00">
                  <c:v>20.399999999999999</c:v>
                </c:pt>
                <c:pt idx="14" formatCode="0.00">
                  <c:v>18.7</c:v>
                </c:pt>
                <c:pt idx="15" formatCode="0.00">
                  <c:v>17.600000000000001</c:v>
                </c:pt>
                <c:pt idx="16" formatCode="0.00">
                  <c:v>17.2</c:v>
                </c:pt>
                <c:pt idx="17" formatCode="0.00">
                  <c:v>15.9</c:v>
                </c:pt>
                <c:pt idx="18" formatCode="0.00">
                  <c:v>14.6</c:v>
                </c:pt>
                <c:pt idx="19" formatCode="0.00">
                  <c:v>28</c:v>
                </c:pt>
                <c:pt idx="20" formatCode="0.00">
                  <c:v>36.200000000000003</c:v>
                </c:pt>
                <c:pt idx="21" formatCode="0.00">
                  <c:v>37.200000000000003</c:v>
                </c:pt>
                <c:pt idx="22" formatCode="0.00">
                  <c:v>39.800000000000011</c:v>
                </c:pt>
                <c:pt idx="23" formatCode="0.00">
                  <c:v>38.700000000000003</c:v>
                </c:pt>
                <c:pt idx="24" formatCode="0.00">
                  <c:v>40.5</c:v>
                </c:pt>
                <c:pt idx="25" formatCode="0.00">
                  <c:v>42.6</c:v>
                </c:pt>
                <c:pt idx="26" formatCode="0.00">
                  <c:v>40</c:v>
                </c:pt>
                <c:pt idx="27" formatCode="0.00">
                  <c:v>39.4</c:v>
                </c:pt>
                <c:pt idx="28" formatCode="0.00">
                  <c:v>34.200000000000003</c:v>
                </c:pt>
                <c:pt idx="29" formatCode="0.00">
                  <c:v>37</c:v>
                </c:pt>
                <c:pt idx="30" formatCode="0.00">
                  <c:v>36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FAAA-4A5F-A99A-EE93B34DA0EF}"/>
            </c:ext>
          </c:extLst>
        </c:ser>
        <c:ser>
          <c:idx val="10"/>
          <c:order val="10"/>
          <c:tx>
            <c:strRef>
              <c:f>Államadósságok!$A$13</c:f>
              <c:strCache>
                <c:ptCount val="1"/>
                <c:pt idx="0">
                  <c:v>Bulgária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numRef>
              <c:f>Államadósságok!$B$2:$AF$2</c:f>
              <c:numCache>
                <c:formatCode>General</c:formatCode>
                <c:ptCount val="3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</c:numCache>
            </c:numRef>
          </c:cat>
          <c:val>
            <c:numRef>
              <c:f>Államadósságok!$B$13:$AF$13</c:f>
              <c:numCache>
                <c:formatCode>General</c:formatCode>
                <c:ptCount val="31"/>
                <c:pt idx="0">
                  <c:v>18.5</c:v>
                </c:pt>
                <c:pt idx="1">
                  <c:v>150.6</c:v>
                </c:pt>
                <c:pt idx="2">
                  <c:v>160.5</c:v>
                </c:pt>
                <c:pt idx="3">
                  <c:v>127.8</c:v>
                </c:pt>
                <c:pt idx="4">
                  <c:v>117</c:v>
                </c:pt>
                <c:pt idx="5" formatCode="0.00">
                  <c:v>77.7</c:v>
                </c:pt>
                <c:pt idx="6" formatCode="0.00">
                  <c:v>96</c:v>
                </c:pt>
                <c:pt idx="7" formatCode="0.00">
                  <c:v>97.3</c:v>
                </c:pt>
                <c:pt idx="8" formatCode="0.00">
                  <c:v>69.3</c:v>
                </c:pt>
                <c:pt idx="9" formatCode="0.00">
                  <c:v>76.099999999999994</c:v>
                </c:pt>
                <c:pt idx="10" formatCode="0.00">
                  <c:v>71.2</c:v>
                </c:pt>
                <c:pt idx="11" formatCode="0.00">
                  <c:v>65</c:v>
                </c:pt>
                <c:pt idx="12" formatCode="0.00">
                  <c:v>51.4</c:v>
                </c:pt>
                <c:pt idx="13" formatCode="0.00">
                  <c:v>43.7</c:v>
                </c:pt>
                <c:pt idx="14" formatCode="0.00">
                  <c:v>36</c:v>
                </c:pt>
                <c:pt idx="15" formatCode="0.00">
                  <c:v>26.8</c:v>
                </c:pt>
                <c:pt idx="16" formatCode="0.00">
                  <c:v>21</c:v>
                </c:pt>
                <c:pt idx="17" formatCode="0.00">
                  <c:v>16.3</c:v>
                </c:pt>
                <c:pt idx="18" formatCode="0.00">
                  <c:v>13</c:v>
                </c:pt>
                <c:pt idx="19" formatCode="0.00">
                  <c:v>13.7</c:v>
                </c:pt>
                <c:pt idx="20" formatCode="0.00">
                  <c:v>15.3</c:v>
                </c:pt>
                <c:pt idx="21" formatCode="0.00">
                  <c:v>15.2</c:v>
                </c:pt>
                <c:pt idx="22" formatCode="0.00">
                  <c:v>16.7</c:v>
                </c:pt>
                <c:pt idx="23" formatCode="0.00">
                  <c:v>17</c:v>
                </c:pt>
                <c:pt idx="24" formatCode="0.00">
                  <c:v>27</c:v>
                </c:pt>
                <c:pt idx="25" formatCode="0.00">
                  <c:v>26.2</c:v>
                </c:pt>
                <c:pt idx="26" formatCode="0.00">
                  <c:v>29.6</c:v>
                </c:pt>
                <c:pt idx="27" formatCode="0.00">
                  <c:v>25.6</c:v>
                </c:pt>
                <c:pt idx="28" formatCode="0.00">
                  <c:v>22.6</c:v>
                </c:pt>
                <c:pt idx="29" formatCode="0.00">
                  <c:v>20.5</c:v>
                </c:pt>
                <c:pt idx="30" formatCode="0.00">
                  <c:v>18.3999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FAAA-4A5F-A99A-EE93B34DA0EF}"/>
            </c:ext>
          </c:extLst>
        </c:ser>
        <c:dLbls/>
        <c:marker val="1"/>
        <c:axId val="149711104"/>
        <c:axId val="149733376"/>
      </c:lineChart>
      <c:catAx>
        <c:axId val="149711104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49733376"/>
        <c:crosses val="autoZero"/>
        <c:auto val="1"/>
        <c:lblAlgn val="ctr"/>
        <c:lblOffset val="100"/>
      </c:catAx>
      <c:valAx>
        <c:axId val="149733376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497111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7873224124470191E-2"/>
          <c:y val="0.88051977477174315"/>
          <c:w val="0.96831951109080061"/>
          <c:h val="0.11948022522825677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 sz="1200"/>
      </a:pPr>
      <a:endParaRPr lang="hu-HU"/>
    </a:p>
  </c:txPr>
  <c:externalData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hu-HU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230607403701188"/>
          <c:y val="4.0177854054478261E-2"/>
          <c:w val="0.87836387214324774"/>
          <c:h val="0.61269960350233399"/>
        </c:manualLayout>
      </c:layout>
      <c:lineChart>
        <c:grouping val="standard"/>
        <c:ser>
          <c:idx val="0"/>
          <c:order val="0"/>
          <c:tx>
            <c:strRef>
              <c:f>'[Microsoft PowerPoint programbeli  diagram]Munka1'!$A$14</c:f>
              <c:strCache>
                <c:ptCount val="1"/>
                <c:pt idx="0">
                  <c:v>GDP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[Microsoft PowerPoint programbeli  diagram]Munka1'!$B$13:$AD$13</c:f>
              <c:strCache>
                <c:ptCount val="29"/>
                <c:pt idx="0">
                  <c:v>1991</c:v>
                </c:pt>
                <c:pt idx="1">
                  <c:v>1992</c:v>
                </c:pt>
                <c:pt idx="2">
                  <c:v>1993</c:v>
                </c:pt>
                <c:pt idx="3">
                  <c:v>1994</c:v>
                </c:pt>
                <c:pt idx="4">
                  <c:v>1995</c:v>
                </c:pt>
                <c:pt idx="5">
                  <c:v>1996</c:v>
                </c:pt>
                <c:pt idx="6">
                  <c:v>1997</c:v>
                </c:pt>
                <c:pt idx="7">
                  <c:v>1998</c:v>
                </c:pt>
                <c:pt idx="8">
                  <c:v>1999</c:v>
                </c:pt>
                <c:pt idx="9">
                  <c:v>2000</c:v>
                </c:pt>
                <c:pt idx="10">
                  <c:v>2001</c:v>
                </c:pt>
                <c:pt idx="11">
                  <c:v>2002</c:v>
                </c:pt>
                <c:pt idx="12">
                  <c:v>2003</c:v>
                </c:pt>
                <c:pt idx="13">
                  <c:v>2004</c:v>
                </c:pt>
                <c:pt idx="14">
                  <c:v>2005</c:v>
                </c:pt>
                <c:pt idx="15">
                  <c:v>2006</c:v>
                </c:pt>
                <c:pt idx="16">
                  <c:v>2007</c:v>
                </c:pt>
                <c:pt idx="17">
                  <c:v>2008</c:v>
                </c:pt>
                <c:pt idx="18">
                  <c:v>2009</c:v>
                </c:pt>
                <c:pt idx="19">
                  <c:v>2010</c:v>
                </c:pt>
                <c:pt idx="20">
                  <c:v>2011</c:v>
                </c:pt>
                <c:pt idx="21">
                  <c:v>2012</c:v>
                </c:pt>
                <c:pt idx="22">
                  <c:v>2013</c:v>
                </c:pt>
                <c:pt idx="23">
                  <c:v>2014</c:v>
                </c:pt>
                <c:pt idx="24">
                  <c:v>2015</c:v>
                </c:pt>
                <c:pt idx="25">
                  <c:v>2016</c:v>
                </c:pt>
                <c:pt idx="26">
                  <c:v>2017</c:v>
                </c:pt>
                <c:pt idx="27">
                  <c:v>2018</c:v>
                </c:pt>
                <c:pt idx="28">
                  <c:v>2019</c:v>
                </c:pt>
              </c:strCache>
            </c:strRef>
          </c:cat>
          <c:val>
            <c:numRef>
              <c:f>'[Microsoft PowerPoint programbeli  diagram]Munka1'!$B$14:$AD$14</c:f>
              <c:numCache>
                <c:formatCode>General</c:formatCode>
                <c:ptCount val="29"/>
                <c:pt idx="0">
                  <c:v>8845438.5401791837</c:v>
                </c:pt>
                <c:pt idx="1">
                  <c:v>8579474.8207363579</c:v>
                </c:pt>
                <c:pt idx="2">
                  <c:v>8528304.9907916076</c:v>
                </c:pt>
                <c:pt idx="3">
                  <c:v>8783012.3489099964</c:v>
                </c:pt>
                <c:pt idx="4">
                  <c:v>8916763.8059999999</c:v>
                </c:pt>
                <c:pt idx="5">
                  <c:v>9242365.6559999995</c:v>
                </c:pt>
                <c:pt idx="6">
                  <c:v>10493531.622000001</c:v>
                </c:pt>
                <c:pt idx="7">
                  <c:v>10928505.522</c:v>
                </c:pt>
                <c:pt idx="8">
                  <c:v>11759740.011999996</c:v>
                </c:pt>
                <c:pt idx="9">
                  <c:v>13601622.189999998</c:v>
                </c:pt>
                <c:pt idx="10">
                  <c:v>14802585.525</c:v>
                </c:pt>
                <c:pt idx="11">
                  <c:v>16954298.129999999</c:v>
                </c:pt>
                <c:pt idx="12">
                  <c:v>19788662.490000002</c:v>
                </c:pt>
                <c:pt idx="13">
                  <c:v>20618672.828000005</c:v>
                </c:pt>
                <c:pt idx="14">
                  <c:v>22985515.496999998</c:v>
                </c:pt>
                <c:pt idx="15">
                  <c:v>23159121.600000001</c:v>
                </c:pt>
                <c:pt idx="16">
                  <c:v>25884541.484999996</c:v>
                </c:pt>
                <c:pt idx="17">
                  <c:v>28628410.769999996</c:v>
                </c:pt>
                <c:pt idx="18">
                  <c:v>25530055.499999996</c:v>
                </c:pt>
                <c:pt idx="19">
                  <c:v>27547747.5</c:v>
                </c:pt>
                <c:pt idx="20">
                  <c:v>31522758.210000001</c:v>
                </c:pt>
                <c:pt idx="21">
                  <c:v>28984054.096000001</c:v>
                </c:pt>
                <c:pt idx="22">
                  <c:v>30251150.406000003</c:v>
                </c:pt>
                <c:pt idx="23">
                  <c:v>33244165.370999999</c:v>
                </c:pt>
                <c:pt idx="24">
                  <c:v>34669554.447999999</c:v>
                </c:pt>
                <c:pt idx="25" formatCode="0.0">
                  <c:v>35188000</c:v>
                </c:pt>
                <c:pt idx="26" formatCode="0.0">
                  <c:v>37279000</c:v>
                </c:pt>
                <c:pt idx="27" formatCode="0.0">
                  <c:v>40352700</c:v>
                </c:pt>
                <c:pt idx="28" formatCode="0.0">
                  <c:v>439345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B1F-4CD2-B1B4-4A779E12128F}"/>
            </c:ext>
          </c:extLst>
        </c:ser>
        <c:ser>
          <c:idx val="1"/>
          <c:order val="1"/>
          <c:tx>
            <c:strRef>
              <c:f>'[Microsoft PowerPoint programbeli  diagram]Munka1'!$A$15</c:f>
              <c:strCache>
                <c:ptCount val="1"/>
                <c:pt idx="0">
                  <c:v>adósságszolgálat (kamat) </c:v>
                </c:pt>
              </c:strCache>
            </c:strRef>
          </c:tx>
          <c:spPr>
            <a:ln w="3810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'[Microsoft PowerPoint programbeli  diagram]Munka1'!$B$13:$AD$13</c:f>
              <c:strCache>
                <c:ptCount val="29"/>
                <c:pt idx="0">
                  <c:v>1991</c:v>
                </c:pt>
                <c:pt idx="1">
                  <c:v>1992</c:v>
                </c:pt>
                <c:pt idx="2">
                  <c:v>1993</c:v>
                </c:pt>
                <c:pt idx="3">
                  <c:v>1994</c:v>
                </c:pt>
                <c:pt idx="4">
                  <c:v>1995</c:v>
                </c:pt>
                <c:pt idx="5">
                  <c:v>1996</c:v>
                </c:pt>
                <c:pt idx="6">
                  <c:v>1997</c:v>
                </c:pt>
                <c:pt idx="7">
                  <c:v>1998</c:v>
                </c:pt>
                <c:pt idx="8">
                  <c:v>1999</c:v>
                </c:pt>
                <c:pt idx="9">
                  <c:v>2000</c:v>
                </c:pt>
                <c:pt idx="10">
                  <c:v>2001</c:v>
                </c:pt>
                <c:pt idx="11">
                  <c:v>2002</c:v>
                </c:pt>
                <c:pt idx="12">
                  <c:v>2003</c:v>
                </c:pt>
                <c:pt idx="13">
                  <c:v>2004</c:v>
                </c:pt>
                <c:pt idx="14">
                  <c:v>2005</c:v>
                </c:pt>
                <c:pt idx="15">
                  <c:v>2006</c:v>
                </c:pt>
                <c:pt idx="16">
                  <c:v>2007</c:v>
                </c:pt>
                <c:pt idx="17">
                  <c:v>2008</c:v>
                </c:pt>
                <c:pt idx="18">
                  <c:v>2009</c:v>
                </c:pt>
                <c:pt idx="19">
                  <c:v>2010</c:v>
                </c:pt>
                <c:pt idx="20">
                  <c:v>2011</c:v>
                </c:pt>
                <c:pt idx="21">
                  <c:v>2012</c:v>
                </c:pt>
                <c:pt idx="22">
                  <c:v>2013</c:v>
                </c:pt>
                <c:pt idx="23">
                  <c:v>2014</c:v>
                </c:pt>
                <c:pt idx="24">
                  <c:v>2015</c:v>
                </c:pt>
                <c:pt idx="25">
                  <c:v>2016</c:v>
                </c:pt>
                <c:pt idx="26">
                  <c:v>2017</c:v>
                </c:pt>
                <c:pt idx="27">
                  <c:v>2018</c:v>
                </c:pt>
                <c:pt idx="28">
                  <c:v>2019</c:v>
                </c:pt>
              </c:strCache>
            </c:strRef>
          </c:cat>
          <c:val>
            <c:numRef>
              <c:f>'[Microsoft PowerPoint programbeli  diagram]Munka1'!$B$15:$AD$15</c:f>
              <c:numCache>
                <c:formatCode>General</c:formatCode>
                <c:ptCount val="29"/>
                <c:pt idx="4">
                  <c:v>800754.26400000008</c:v>
                </c:pt>
                <c:pt idx="5">
                  <c:v>841008.20699999994</c:v>
                </c:pt>
                <c:pt idx="6">
                  <c:v>890162.77199999988</c:v>
                </c:pt>
                <c:pt idx="7">
                  <c:v>773247.82200000004</c:v>
                </c:pt>
                <c:pt idx="8">
                  <c:v>792903.16799999983</c:v>
                </c:pt>
                <c:pt idx="9">
                  <c:v>722809.30799999996</c:v>
                </c:pt>
                <c:pt idx="10">
                  <c:v>703050.45299999998</c:v>
                </c:pt>
                <c:pt idx="11">
                  <c:v>687365.42</c:v>
                </c:pt>
                <c:pt idx="12">
                  <c:v>802633.58400000003</c:v>
                </c:pt>
                <c:pt idx="13">
                  <c:v>897742.87200000009</c:v>
                </c:pt>
                <c:pt idx="14">
                  <c:v>935530.64099999983</c:v>
                </c:pt>
                <c:pt idx="15">
                  <c:v>880653.15</c:v>
                </c:pt>
                <c:pt idx="16">
                  <c:v>1058116.2750000001</c:v>
                </c:pt>
                <c:pt idx="17">
                  <c:v>1174166.9100000001</c:v>
                </c:pt>
                <c:pt idx="18">
                  <c:v>1162743.2040000001</c:v>
                </c:pt>
                <c:pt idx="19">
                  <c:v>1151432.625</c:v>
                </c:pt>
                <c:pt idx="20">
                  <c:v>1329365.1510000001</c:v>
                </c:pt>
                <c:pt idx="21">
                  <c:v>1334545.135</c:v>
                </c:pt>
                <c:pt idx="22">
                  <c:v>1377603.0180000002</c:v>
                </c:pt>
                <c:pt idx="23">
                  <c:v>1339730.9940000002</c:v>
                </c:pt>
                <c:pt idx="24">
                  <c:v>1219790.2720000001</c:v>
                </c:pt>
                <c:pt idx="25" formatCode="#\ ##0.0">
                  <c:v>1174873.2</c:v>
                </c:pt>
                <c:pt idx="26" formatCode="#\ ##0.0">
                  <c:v>1011815.8</c:v>
                </c:pt>
                <c:pt idx="27" formatCode="#\ ##0.0">
                  <c:v>1044276.7</c:v>
                </c:pt>
                <c:pt idx="28" formatCode="#\ ##0.0">
                  <c:v>1024665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B1F-4CD2-B1B4-4A779E12128F}"/>
            </c:ext>
          </c:extLst>
        </c:ser>
        <c:ser>
          <c:idx val="2"/>
          <c:order val="2"/>
          <c:tx>
            <c:strRef>
              <c:f>'[Microsoft PowerPoint programbeli  diagram]Munka1'!$A$16</c:f>
              <c:strCache>
                <c:ptCount val="1"/>
                <c:pt idx="0">
                  <c:v>EU támogatások</c:v>
                </c:pt>
              </c:strCache>
            </c:strRef>
          </c:tx>
          <c:spPr>
            <a:ln w="3810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'[Microsoft PowerPoint programbeli  diagram]Munka1'!$B$13:$AD$13</c:f>
              <c:strCache>
                <c:ptCount val="29"/>
                <c:pt idx="0">
                  <c:v>1991</c:v>
                </c:pt>
                <c:pt idx="1">
                  <c:v>1992</c:v>
                </c:pt>
                <c:pt idx="2">
                  <c:v>1993</c:v>
                </c:pt>
                <c:pt idx="3">
                  <c:v>1994</c:v>
                </c:pt>
                <c:pt idx="4">
                  <c:v>1995</c:v>
                </c:pt>
                <c:pt idx="5">
                  <c:v>1996</c:v>
                </c:pt>
                <c:pt idx="6">
                  <c:v>1997</c:v>
                </c:pt>
                <c:pt idx="7">
                  <c:v>1998</c:v>
                </c:pt>
                <c:pt idx="8">
                  <c:v>1999</c:v>
                </c:pt>
                <c:pt idx="9">
                  <c:v>2000</c:v>
                </c:pt>
                <c:pt idx="10">
                  <c:v>2001</c:v>
                </c:pt>
                <c:pt idx="11">
                  <c:v>2002</c:v>
                </c:pt>
                <c:pt idx="12">
                  <c:v>2003</c:v>
                </c:pt>
                <c:pt idx="13">
                  <c:v>2004</c:v>
                </c:pt>
                <c:pt idx="14">
                  <c:v>2005</c:v>
                </c:pt>
                <c:pt idx="15">
                  <c:v>2006</c:v>
                </c:pt>
                <c:pt idx="16">
                  <c:v>2007</c:v>
                </c:pt>
                <c:pt idx="17">
                  <c:v>2008</c:v>
                </c:pt>
                <c:pt idx="18">
                  <c:v>2009</c:v>
                </c:pt>
                <c:pt idx="19">
                  <c:v>2010</c:v>
                </c:pt>
                <c:pt idx="20">
                  <c:v>2011</c:v>
                </c:pt>
                <c:pt idx="21">
                  <c:v>2012</c:v>
                </c:pt>
                <c:pt idx="22">
                  <c:v>2013</c:v>
                </c:pt>
                <c:pt idx="23">
                  <c:v>2014</c:v>
                </c:pt>
                <c:pt idx="24">
                  <c:v>2015</c:v>
                </c:pt>
                <c:pt idx="25">
                  <c:v>2016</c:v>
                </c:pt>
                <c:pt idx="26">
                  <c:v>2017</c:v>
                </c:pt>
                <c:pt idx="27">
                  <c:v>2018</c:v>
                </c:pt>
                <c:pt idx="28">
                  <c:v>2019</c:v>
                </c:pt>
              </c:strCache>
            </c:strRef>
          </c:cat>
          <c:val>
            <c:numRef>
              <c:f>'[Microsoft PowerPoint programbeli  diagram]Munka1'!$B$16:$AD$16</c:f>
              <c:numCache>
                <c:formatCode>General</c:formatCode>
                <c:ptCount val="29"/>
                <c:pt idx="13">
                  <c:v>175443.86947725966</c:v>
                </c:pt>
                <c:pt idx="14">
                  <c:v>342944.70572864776</c:v>
                </c:pt>
                <c:pt idx="15">
                  <c:v>464774.59481321706</c:v>
                </c:pt>
                <c:pt idx="16">
                  <c:v>615026.1146345915</c:v>
                </c:pt>
                <c:pt idx="17">
                  <c:v>530255.56104676751</c:v>
                </c:pt>
                <c:pt idx="18">
                  <c:v>966530.07773488271</c:v>
                </c:pt>
                <c:pt idx="19">
                  <c:v>1017449.354953989</c:v>
                </c:pt>
                <c:pt idx="20">
                  <c:v>1658609.2526584193</c:v>
                </c:pt>
                <c:pt idx="21">
                  <c:v>1216753.0026681314</c:v>
                </c:pt>
                <c:pt idx="22">
                  <c:v>1754687.2666803114</c:v>
                </c:pt>
                <c:pt idx="23">
                  <c:v>2084639.2946438163</c:v>
                </c:pt>
                <c:pt idx="24">
                  <c:v>1762577.57912367</c:v>
                </c:pt>
                <c:pt idx="25">
                  <c:v>1413930.3613425035</c:v>
                </c:pt>
                <c:pt idx="26">
                  <c:v>1961894.7</c:v>
                </c:pt>
                <c:pt idx="27">
                  <c:v>2336732.2000000002</c:v>
                </c:pt>
                <c:pt idx="28">
                  <c:v>1905727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DB1F-4CD2-B1B4-4A779E12128F}"/>
            </c:ext>
          </c:extLst>
        </c:ser>
        <c:ser>
          <c:idx val="3"/>
          <c:order val="3"/>
          <c:tx>
            <c:strRef>
              <c:f>'[Microsoft PowerPoint programbeli  diagram]Munka1'!$A$17</c:f>
              <c:strCache>
                <c:ptCount val="1"/>
                <c:pt idx="0">
                  <c:v>államadósság </c:v>
                </c:pt>
              </c:strCache>
            </c:strRef>
          </c:tx>
          <c:spPr>
            <a:ln w="3810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'[Microsoft PowerPoint programbeli  diagram]Munka1'!$B$13:$AD$13</c:f>
              <c:strCache>
                <c:ptCount val="29"/>
                <c:pt idx="0">
                  <c:v>1991</c:v>
                </c:pt>
                <c:pt idx="1">
                  <c:v>1992</c:v>
                </c:pt>
                <c:pt idx="2">
                  <c:v>1993</c:v>
                </c:pt>
                <c:pt idx="3">
                  <c:v>1994</c:v>
                </c:pt>
                <c:pt idx="4">
                  <c:v>1995</c:v>
                </c:pt>
                <c:pt idx="5">
                  <c:v>1996</c:v>
                </c:pt>
                <c:pt idx="6">
                  <c:v>1997</c:v>
                </c:pt>
                <c:pt idx="7">
                  <c:v>1998</c:v>
                </c:pt>
                <c:pt idx="8">
                  <c:v>1999</c:v>
                </c:pt>
                <c:pt idx="9">
                  <c:v>2000</c:v>
                </c:pt>
                <c:pt idx="10">
                  <c:v>2001</c:v>
                </c:pt>
                <c:pt idx="11">
                  <c:v>2002</c:v>
                </c:pt>
                <c:pt idx="12">
                  <c:v>2003</c:v>
                </c:pt>
                <c:pt idx="13">
                  <c:v>2004</c:v>
                </c:pt>
                <c:pt idx="14">
                  <c:v>2005</c:v>
                </c:pt>
                <c:pt idx="15">
                  <c:v>2006</c:v>
                </c:pt>
                <c:pt idx="16">
                  <c:v>2007</c:v>
                </c:pt>
                <c:pt idx="17">
                  <c:v>2008</c:v>
                </c:pt>
                <c:pt idx="18">
                  <c:v>2009</c:v>
                </c:pt>
                <c:pt idx="19">
                  <c:v>2010</c:v>
                </c:pt>
                <c:pt idx="20">
                  <c:v>2011</c:v>
                </c:pt>
                <c:pt idx="21">
                  <c:v>2012</c:v>
                </c:pt>
                <c:pt idx="22">
                  <c:v>2013</c:v>
                </c:pt>
                <c:pt idx="23">
                  <c:v>2014</c:v>
                </c:pt>
                <c:pt idx="24">
                  <c:v>2015</c:v>
                </c:pt>
                <c:pt idx="25">
                  <c:v>2016</c:v>
                </c:pt>
                <c:pt idx="26">
                  <c:v>2017</c:v>
                </c:pt>
                <c:pt idx="27">
                  <c:v>2018</c:v>
                </c:pt>
                <c:pt idx="28">
                  <c:v>2019</c:v>
                </c:pt>
              </c:strCache>
            </c:strRef>
          </c:cat>
          <c:val>
            <c:numRef>
              <c:f>'[Microsoft PowerPoint programbeli  diagram]Munka1'!$B$17:$AD$17</c:f>
              <c:numCache>
                <c:formatCode>General</c:formatCode>
                <c:ptCount val="29"/>
                <c:pt idx="0">
                  <c:v>6041434.5229423828</c:v>
                </c:pt>
                <c:pt idx="1">
                  <c:v>6709149.3098158306</c:v>
                </c:pt>
                <c:pt idx="2">
                  <c:v>5824832.3087106682</c:v>
                </c:pt>
                <c:pt idx="3">
                  <c:v>6033929.4837011695</c:v>
                </c:pt>
                <c:pt idx="4">
                  <c:v>6723112.4850000003</c:v>
                </c:pt>
                <c:pt idx="5">
                  <c:v>6160965.2910000002</c:v>
                </c:pt>
                <c:pt idx="6">
                  <c:v>6103488.3929999992</c:v>
                </c:pt>
                <c:pt idx="7">
                  <c:v>6215651.3160000006</c:v>
                </c:pt>
                <c:pt idx="8">
                  <c:v>6949501.5800000001</c:v>
                </c:pt>
                <c:pt idx="9">
                  <c:v>7312291.0120000001</c:v>
                </c:pt>
                <c:pt idx="10">
                  <c:v>7959784.4550000001</c:v>
                </c:pt>
                <c:pt idx="11">
                  <c:v>9520853.2299999986</c:v>
                </c:pt>
                <c:pt idx="12">
                  <c:v>10925917.842000002</c:v>
                </c:pt>
                <c:pt idx="13">
                  <c:v>12241682.203</c:v>
                </c:pt>
                <c:pt idx="14">
                  <c:v>13518148.604999999</c:v>
                </c:pt>
                <c:pt idx="15">
                  <c:v>15579348.390000002</c:v>
                </c:pt>
                <c:pt idx="16">
                  <c:v>16661664.089999996</c:v>
                </c:pt>
                <c:pt idx="17">
                  <c:v>19156806.521999996</c:v>
                </c:pt>
                <c:pt idx="18">
                  <c:v>20418410.927999996</c:v>
                </c:pt>
                <c:pt idx="19">
                  <c:v>21768228.625</c:v>
                </c:pt>
                <c:pt idx="20">
                  <c:v>22371367.068</c:v>
                </c:pt>
                <c:pt idx="21">
                  <c:v>22251701.357999999</c:v>
                </c:pt>
                <c:pt idx="22">
                  <c:v>22964177.348999999</c:v>
                </c:pt>
                <c:pt idx="23">
                  <c:v>24444280.919999998</c:v>
                </c:pt>
                <c:pt idx="24">
                  <c:v>25421837.056000005</c:v>
                </c:pt>
                <c:pt idx="25">
                  <c:v>26264923.653999999</c:v>
                </c:pt>
                <c:pt idx="26">
                  <c:v>26936300</c:v>
                </c:pt>
                <c:pt idx="27">
                  <c:v>28358700</c:v>
                </c:pt>
                <c:pt idx="28">
                  <c:v>308909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DB1F-4CD2-B1B4-4A779E12128F}"/>
            </c:ext>
          </c:extLst>
        </c:ser>
        <c:ser>
          <c:idx val="4"/>
          <c:order val="4"/>
          <c:tx>
            <c:strRef>
              <c:f>'[Microsoft PowerPoint programbeli  diagram]Munka1'!$A$18</c:f>
              <c:strCache>
                <c:ptCount val="1"/>
                <c:pt idx="0">
                  <c:v>konszolidált államháztartási kiadások</c:v>
                </c:pt>
              </c:strCache>
            </c:strRef>
          </c:tx>
          <c:spPr>
            <a:ln w="38100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strRef>
              <c:f>'[Microsoft PowerPoint programbeli  diagram]Munka1'!$B$13:$AD$13</c:f>
              <c:strCache>
                <c:ptCount val="29"/>
                <c:pt idx="0">
                  <c:v>1991</c:v>
                </c:pt>
                <c:pt idx="1">
                  <c:v>1992</c:v>
                </c:pt>
                <c:pt idx="2">
                  <c:v>1993</c:v>
                </c:pt>
                <c:pt idx="3">
                  <c:v>1994</c:v>
                </c:pt>
                <c:pt idx="4">
                  <c:v>1995</c:v>
                </c:pt>
                <c:pt idx="5">
                  <c:v>1996</c:v>
                </c:pt>
                <c:pt idx="6">
                  <c:v>1997</c:v>
                </c:pt>
                <c:pt idx="7">
                  <c:v>1998</c:v>
                </c:pt>
                <c:pt idx="8">
                  <c:v>1999</c:v>
                </c:pt>
                <c:pt idx="9">
                  <c:v>2000</c:v>
                </c:pt>
                <c:pt idx="10">
                  <c:v>2001</c:v>
                </c:pt>
                <c:pt idx="11">
                  <c:v>2002</c:v>
                </c:pt>
                <c:pt idx="12">
                  <c:v>2003</c:v>
                </c:pt>
                <c:pt idx="13">
                  <c:v>2004</c:v>
                </c:pt>
                <c:pt idx="14">
                  <c:v>2005</c:v>
                </c:pt>
                <c:pt idx="15">
                  <c:v>2006</c:v>
                </c:pt>
                <c:pt idx="16">
                  <c:v>2007</c:v>
                </c:pt>
                <c:pt idx="17">
                  <c:v>2008</c:v>
                </c:pt>
                <c:pt idx="18">
                  <c:v>2009</c:v>
                </c:pt>
                <c:pt idx="19">
                  <c:v>2010</c:v>
                </c:pt>
                <c:pt idx="20">
                  <c:v>2011</c:v>
                </c:pt>
                <c:pt idx="21">
                  <c:v>2012</c:v>
                </c:pt>
                <c:pt idx="22">
                  <c:v>2013</c:v>
                </c:pt>
                <c:pt idx="23">
                  <c:v>2014</c:v>
                </c:pt>
                <c:pt idx="24">
                  <c:v>2015</c:v>
                </c:pt>
                <c:pt idx="25">
                  <c:v>2016</c:v>
                </c:pt>
                <c:pt idx="26">
                  <c:v>2017</c:v>
                </c:pt>
                <c:pt idx="27">
                  <c:v>2018</c:v>
                </c:pt>
                <c:pt idx="28">
                  <c:v>2019</c:v>
                </c:pt>
              </c:strCache>
            </c:strRef>
          </c:cat>
          <c:val>
            <c:numRef>
              <c:f>'[Microsoft PowerPoint programbeli  diagram]Munka1'!$B$18:$AD$18</c:f>
              <c:numCache>
                <c:formatCode>General</c:formatCode>
                <c:ptCount val="29"/>
                <c:pt idx="4">
                  <c:v>4914425.6370000001</c:v>
                </c:pt>
                <c:pt idx="5">
                  <c:v>4697617.5480000013</c:v>
                </c:pt>
                <c:pt idx="6">
                  <c:v>5185190.6039999994</c:v>
                </c:pt>
                <c:pt idx="7">
                  <c:v>5530806.2820000015</c:v>
                </c:pt>
                <c:pt idx="8">
                  <c:v>5710692.3480000002</c:v>
                </c:pt>
                <c:pt idx="9">
                  <c:v>6401745.2200000007</c:v>
                </c:pt>
                <c:pt idx="10">
                  <c:v>6972222.8520000009</c:v>
                </c:pt>
                <c:pt idx="11">
                  <c:v>8612709</c:v>
                </c:pt>
                <c:pt idx="12">
                  <c:v>9690788.319000002</c:v>
                </c:pt>
                <c:pt idx="13">
                  <c:v>9991299.7379999962</c:v>
                </c:pt>
                <c:pt idx="14">
                  <c:v>11341814.755999999</c:v>
                </c:pt>
                <c:pt idx="15">
                  <c:v>11910099.029999997</c:v>
                </c:pt>
                <c:pt idx="16">
                  <c:v>12898149.84</c:v>
                </c:pt>
                <c:pt idx="17">
                  <c:v>13886466.534</c:v>
                </c:pt>
                <c:pt idx="18">
                  <c:v>12857533.151999999</c:v>
                </c:pt>
                <c:pt idx="19">
                  <c:v>13563947.125</c:v>
                </c:pt>
                <c:pt idx="20">
                  <c:v>15587332.982999999</c:v>
                </c:pt>
                <c:pt idx="21">
                  <c:v>14014427.964000002</c:v>
                </c:pt>
                <c:pt idx="22">
                  <c:v>14865868.026000001</c:v>
                </c:pt>
                <c:pt idx="23">
                  <c:v>16199295.626999998</c:v>
                </c:pt>
                <c:pt idx="24">
                  <c:v>17180863.088</c:v>
                </c:pt>
                <c:pt idx="25">
                  <c:v>16933645.799999997</c:v>
                </c:pt>
                <c:pt idx="26">
                  <c:v>18145164.299999997</c:v>
                </c:pt>
                <c:pt idx="27">
                  <c:v>19318442.800000001</c:v>
                </c:pt>
                <c:pt idx="28">
                  <c:v>19963513.3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DB1F-4CD2-B1B4-4A779E12128F}"/>
            </c:ext>
          </c:extLst>
        </c:ser>
        <c:dLbls/>
        <c:marker val="1"/>
        <c:axId val="114583808"/>
        <c:axId val="114589696"/>
      </c:lineChart>
      <c:catAx>
        <c:axId val="114583808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14589696"/>
        <c:crosses val="autoZero"/>
        <c:auto val="1"/>
        <c:lblAlgn val="ctr"/>
        <c:lblOffset val="100"/>
      </c:catAx>
      <c:valAx>
        <c:axId val="114589696"/>
        <c:scaling>
          <c:orientation val="minMax"/>
          <c:max val="45000000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14583808"/>
        <c:crosses val="autoZero"/>
        <c:crossBetween val="between"/>
        <c:dispUnits>
          <c:builtInUnit val="thousands"/>
        </c:dispUnits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6489523858018617E-2"/>
          <c:y val="0.78270101422682981"/>
          <c:w val="0.94635100610370348"/>
          <c:h val="0.19950143501511627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 sz="1400"/>
      </a:pPr>
      <a:endParaRPr lang="hu-HU"/>
    </a:p>
  </c:txPr>
  <c:externalData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hu-HU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7598310598963413E-2"/>
          <c:y val="4.4393432638609336E-2"/>
          <c:w val="0.88480337880207316"/>
          <c:h val="0.64177124806411567"/>
        </c:manualLayout>
      </c:layout>
      <c:barChart>
        <c:barDir val="col"/>
        <c:grouping val="stacked"/>
        <c:ser>
          <c:idx val="0"/>
          <c:order val="0"/>
          <c:tx>
            <c:strRef>
              <c:f>Munka1!$B$12</c:f>
              <c:strCache>
                <c:ptCount val="1"/>
                <c:pt idx="0">
                  <c:v>Hozzájárulásunk az EU költségvetéséhez 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cat>
            <c:numRef>
              <c:f>Munka1!$C$11:$S$11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cat>
          <c:val>
            <c:numRef>
              <c:f>Munka1!$C$12:$S$12</c:f>
              <c:numCache>
                <c:formatCode>0.00%</c:formatCode>
                <c:ptCount val="17"/>
                <c:pt idx="0">
                  <c:v>-5.7578728950523975E-3</c:v>
                </c:pt>
                <c:pt idx="1">
                  <c:v>-7.9154249353942177E-3</c:v>
                </c:pt>
                <c:pt idx="2">
                  <c:v>-7.3901367642307831E-3</c:v>
                </c:pt>
                <c:pt idx="3">
                  <c:v>-7.4308165193134757E-3</c:v>
                </c:pt>
                <c:pt idx="4">
                  <c:v>-7.7035361853025012E-3</c:v>
                </c:pt>
                <c:pt idx="5">
                  <c:v>-8.6643847321517878E-3</c:v>
                </c:pt>
                <c:pt idx="6">
                  <c:v>-8.7247578498694991E-3</c:v>
                </c:pt>
                <c:pt idx="7">
                  <c:v>-8.2509823172241172E-3</c:v>
                </c:pt>
                <c:pt idx="8">
                  <c:v>-8.362458800829654E-3</c:v>
                </c:pt>
                <c:pt idx="9">
                  <c:v>-8.8049426764188719E-3</c:v>
                </c:pt>
                <c:pt idx="10">
                  <c:v>-8.4338406025065964E-3</c:v>
                </c:pt>
                <c:pt idx="11">
                  <c:v>-8.5255640728468893E-3</c:v>
                </c:pt>
                <c:pt idx="12">
                  <c:v>-8.5111736457297513E-3</c:v>
                </c:pt>
                <c:pt idx="13">
                  <c:v>-6.6172329280817805E-3</c:v>
                </c:pt>
                <c:pt idx="14">
                  <c:v>-7.5219510467570486E-3</c:v>
                </c:pt>
                <c:pt idx="15">
                  <c:v>-8.119892307407962E-3</c:v>
                </c:pt>
                <c:pt idx="16">
                  <c:v>-8.1530804171127645E-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7BC-41AD-8B7C-B8BB111DFDBD}"/>
            </c:ext>
          </c:extLst>
        </c:ser>
        <c:ser>
          <c:idx val="1"/>
          <c:order val="1"/>
          <c:tx>
            <c:strRef>
              <c:f>Munka1!$B$13</c:f>
              <c:strCache>
                <c:ptCount val="1"/>
                <c:pt idx="0">
                  <c:v>Költségvetésünkben megjelenő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cat>
            <c:numRef>
              <c:f>Munka1!$C$11:$S$11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cat>
          <c:val>
            <c:numRef>
              <c:f>Munka1!$C$13:$S$13</c:f>
              <c:numCache>
                <c:formatCode>0.00%</c:formatCode>
                <c:ptCount val="17"/>
                <c:pt idx="0">
                  <c:v>7.9036620984315759E-3</c:v>
                </c:pt>
                <c:pt idx="1">
                  <c:v>8.5772027982914823E-3</c:v>
                </c:pt>
                <c:pt idx="2">
                  <c:v>1.2624211782165972E-2</c:v>
                </c:pt>
                <c:pt idx="3">
                  <c:v>1.8277350176485005E-2</c:v>
                </c:pt>
                <c:pt idx="4">
                  <c:v>1.2822309293363148E-2</c:v>
                </c:pt>
                <c:pt idx="5">
                  <c:v>2.9012535720033698E-2</c:v>
                </c:pt>
                <c:pt idx="6">
                  <c:v>2.5981598495126632E-2</c:v>
                </c:pt>
                <c:pt idx="7">
                  <c:v>4.0693322339863565E-2</c:v>
                </c:pt>
                <c:pt idx="8">
                  <c:v>2.8757371310953635E-2</c:v>
                </c:pt>
                <c:pt idx="9">
                  <c:v>4.3620603302991348E-2</c:v>
                </c:pt>
                <c:pt idx="10">
                  <c:v>4.7673820154877318E-2</c:v>
                </c:pt>
                <c:pt idx="11">
                  <c:v>3.7742169071923057E-2</c:v>
                </c:pt>
                <c:pt idx="12">
                  <c:v>2.7207666139645335E-2</c:v>
                </c:pt>
                <c:pt idx="13">
                  <c:v>1.8990935023139626E-2</c:v>
                </c:pt>
                <c:pt idx="14">
                  <c:v>3.4827955924017419E-2</c:v>
                </c:pt>
                <c:pt idx="15">
                  <c:v>3.2299765712682955E-2</c:v>
                </c:pt>
                <c:pt idx="16">
                  <c:v>3.2565252837728154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7BC-41AD-8B7C-B8BB111DFDBD}"/>
            </c:ext>
          </c:extLst>
        </c:ser>
        <c:ser>
          <c:idx val="2"/>
          <c:order val="2"/>
          <c:tx>
            <c:strRef>
              <c:f>Munka1!$B$14</c:f>
              <c:strCache>
                <c:ptCount val="1"/>
                <c:pt idx="0">
                  <c:v>Költségvetésünkön kívüli EU támogatások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cat>
            <c:numRef>
              <c:f>Munka1!$C$11:$S$11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cat>
          <c:val>
            <c:numRef>
              <c:f>Munka1!$C$14:$S$14</c:f>
              <c:numCache>
                <c:formatCode>0.00%</c:formatCode>
                <c:ptCount val="17"/>
                <c:pt idx="0">
                  <c:v>4.5403256029824529E-4</c:v>
                </c:pt>
                <c:pt idx="1">
                  <c:v>6.1847847286557109E-3</c:v>
                </c:pt>
                <c:pt idx="2">
                  <c:v>7.4452518984210771E-3</c:v>
                </c:pt>
                <c:pt idx="3">
                  <c:v>5.4792164391356561E-3</c:v>
                </c:pt>
                <c:pt idx="4">
                  <c:v>5.6812494483996249E-3</c:v>
                </c:pt>
                <c:pt idx="5">
                  <c:v>8.8793350322520156E-3</c:v>
                </c:pt>
                <c:pt idx="6">
                  <c:v>1.0917138865205287E-2</c:v>
                </c:pt>
                <c:pt idx="7">
                  <c:v>1.1892869689936027E-2</c:v>
                </c:pt>
                <c:pt idx="8">
                  <c:v>1.3247339769558858E-2</c:v>
                </c:pt>
                <c:pt idx="9">
                  <c:v>1.4390992923171959E-2</c:v>
                </c:pt>
                <c:pt idx="10">
                  <c:v>1.5038952584721139E-2</c:v>
                </c:pt>
                <c:pt idx="11">
                  <c:v>1.3000357245815863E-2</c:v>
                </c:pt>
                <c:pt idx="12">
                  <c:v>1.2706712441181628E-2</c:v>
                </c:pt>
                <c:pt idx="13">
                  <c:v>1.3652273323883097E-2</c:v>
                </c:pt>
                <c:pt idx="14">
                  <c:v>9.7488382042554781E-3</c:v>
                </c:pt>
                <c:pt idx="15">
                  <c:v>9.3050580438475295E-3</c:v>
                </c:pt>
                <c:pt idx="16">
                  <c:v>8.8113601205424413E-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17BC-41AD-8B7C-B8BB111DFDBD}"/>
            </c:ext>
          </c:extLst>
        </c:ser>
        <c:dLbls/>
        <c:gapWidth val="219"/>
        <c:overlap val="100"/>
        <c:axId val="177035520"/>
        <c:axId val="177881088"/>
      </c:barChart>
      <c:lineChart>
        <c:grouping val="standard"/>
        <c:ser>
          <c:idx val="3"/>
          <c:order val="3"/>
          <c:tx>
            <c:strRef>
              <c:f>Munka1!$B$15</c:f>
              <c:strCache>
                <c:ptCount val="1"/>
                <c:pt idx="0">
                  <c:v>Nettó pozíciónk az EU módszertana szerint*</c:v>
                </c:pt>
              </c:strCache>
            </c:strRef>
          </c:tx>
          <c:spPr>
            <a:ln w="38100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Munka1!$C$11:$S$11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cat>
          <c:val>
            <c:numRef>
              <c:f>Munka1!$C$15:$S$15</c:f>
              <c:numCache>
                <c:formatCode>0.00%</c:formatCode>
                <c:ptCount val="17"/>
                <c:pt idx="0">
                  <c:v>2.307025798757668E-3</c:v>
                </c:pt>
                <c:pt idx="1">
                  <c:v>6.4881780234923078E-3</c:v>
                </c:pt>
                <c:pt idx="2">
                  <c:v>1.2147880033998621E-2</c:v>
                </c:pt>
                <c:pt idx="3">
                  <c:v>1.5715760053915631E-2</c:v>
                </c:pt>
                <c:pt idx="4">
                  <c:v>1.0271316504621559E-2</c:v>
                </c:pt>
                <c:pt idx="5">
                  <c:v>2.8874789894878249E-2</c:v>
                </c:pt>
                <c:pt idx="6">
                  <c:v>2.7803927506072655E-2</c:v>
                </c:pt>
                <c:pt idx="7">
                  <c:v>4.3583950758308891E-2</c:v>
                </c:pt>
                <c:pt idx="8">
                  <c:v>3.2987820238205255E-2</c:v>
                </c:pt>
                <c:pt idx="9">
                  <c:v>4.8633923013665092E-2</c:v>
                </c:pt>
                <c:pt idx="10">
                  <c:v>5.3821217365238837E-2</c:v>
                </c:pt>
                <c:pt idx="11">
                  <c:v>4.1795393258465686E-2</c:v>
                </c:pt>
                <c:pt idx="12">
                  <c:v>3.1440071267316676E-2</c:v>
                </c:pt>
                <c:pt idx="13">
                  <c:v>2.5293502431330207E-2</c:v>
                </c:pt>
                <c:pt idx="14">
                  <c:v>3.7054844487032002E-2</c:v>
                </c:pt>
                <c:pt idx="15">
                  <c:v>3.3484931449122519E-2</c:v>
                </c:pt>
                <c:pt idx="16">
                  <c:v>3.3223532541157862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17BC-41AD-8B7C-B8BB111DFDBD}"/>
            </c:ext>
          </c:extLst>
        </c:ser>
        <c:dLbls/>
        <c:marker val="1"/>
        <c:axId val="177884160"/>
        <c:axId val="177882624"/>
      </c:lineChart>
      <c:catAx>
        <c:axId val="177035520"/>
        <c:scaling>
          <c:orientation val="minMax"/>
        </c:scaling>
        <c:axPos val="b"/>
        <c:numFmt formatCode="General" sourceLinked="1"/>
        <c:maj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77881088"/>
        <c:crosses val="autoZero"/>
        <c:auto val="1"/>
        <c:lblAlgn val="ctr"/>
        <c:lblOffset val="100"/>
      </c:catAx>
      <c:valAx>
        <c:axId val="177881088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77035520"/>
        <c:crosses val="autoZero"/>
        <c:crossBetween val="between"/>
      </c:valAx>
      <c:valAx>
        <c:axId val="177882624"/>
        <c:scaling>
          <c:orientation val="minMax"/>
          <c:max val="7.0000000000000021E-2"/>
          <c:min val="-2.0000000000000007E-2"/>
        </c:scaling>
        <c:axPos val="r"/>
        <c:numFmt formatCode="0%" sourceLinked="0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77884160"/>
        <c:crosses val="max"/>
        <c:crossBetween val="between"/>
      </c:valAx>
      <c:catAx>
        <c:axId val="177884160"/>
        <c:scaling>
          <c:orientation val="minMax"/>
        </c:scaling>
        <c:delete val="1"/>
        <c:axPos val="b"/>
        <c:numFmt formatCode="General" sourceLinked="1"/>
        <c:tickLblPos val="none"/>
        <c:crossAx val="177882624"/>
        <c:crosses val="autoZero"/>
        <c:auto val="1"/>
        <c:lblAlgn val="ctr"/>
        <c:lblOffset val="10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7295156574032483E-3"/>
          <c:y val="0.79065012955106162"/>
          <c:w val="0.60833326306736257"/>
          <c:h val="0.19296243535350413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 sz="1400"/>
      </a:pPr>
      <a:endParaRPr lang="hu-HU"/>
    </a:p>
  </c:txPr>
  <c:externalData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hu-HU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233209598763197E-2"/>
          <c:y val="3.0750498157362912E-2"/>
          <c:w val="0.93279468874035409"/>
          <c:h val="0.63420603941764053"/>
        </c:manualLayout>
      </c:layout>
      <c:barChart>
        <c:barDir val="col"/>
        <c:grouping val="stacked"/>
        <c:ser>
          <c:idx val="0"/>
          <c:order val="0"/>
          <c:tx>
            <c:strRef>
              <c:f>'2009-2019'!$B$24</c:f>
              <c:strCache>
                <c:ptCount val="1"/>
                <c:pt idx="0">
                  <c:v>Általános közösségi szolgáltatások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cat>
            <c:strRef>
              <c:f>'2009-2019'!$C$23:$L$23</c:f>
              <c:strCach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*</c:v>
                </c:pt>
                <c:pt idx="9">
                  <c:v>2019*</c:v>
                </c:pt>
              </c:strCache>
            </c:strRef>
          </c:cat>
          <c:val>
            <c:numRef>
              <c:f>'2009-2019'!$C$24:$L$24</c:f>
              <c:numCache>
                <c:formatCode>#\ ##0.0</c:formatCode>
                <c:ptCount val="10"/>
                <c:pt idx="0">
                  <c:v>1310269.7</c:v>
                </c:pt>
                <c:pt idx="1">
                  <c:v>2003940.9</c:v>
                </c:pt>
                <c:pt idx="2">
                  <c:v>1321662.1000000003</c:v>
                </c:pt>
                <c:pt idx="3">
                  <c:v>1765508.2</c:v>
                </c:pt>
                <c:pt idx="4">
                  <c:v>2146507.9</c:v>
                </c:pt>
                <c:pt idx="5">
                  <c:v>2006969.3</c:v>
                </c:pt>
                <c:pt idx="6">
                  <c:v>1996609.6</c:v>
                </c:pt>
                <c:pt idx="7">
                  <c:v>2178170.5</c:v>
                </c:pt>
                <c:pt idx="8">
                  <c:v>2199037.8000000003</c:v>
                </c:pt>
                <c:pt idx="9">
                  <c:v>2382325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1CC-4D7C-A56C-0AFA37B256AC}"/>
            </c:ext>
          </c:extLst>
        </c:ser>
        <c:ser>
          <c:idx val="1"/>
          <c:order val="1"/>
          <c:tx>
            <c:strRef>
              <c:f>'2009-2019'!$B$25</c:f>
              <c:strCache>
                <c:ptCount val="1"/>
                <c:pt idx="0">
                  <c:v>Védelem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cat>
            <c:strRef>
              <c:f>'2009-2019'!$C$23:$L$23</c:f>
              <c:strCach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*</c:v>
                </c:pt>
                <c:pt idx="9">
                  <c:v>2019*</c:v>
                </c:pt>
              </c:strCache>
            </c:strRef>
          </c:cat>
          <c:val>
            <c:numRef>
              <c:f>'2009-2019'!$C$25:$L$25</c:f>
              <c:numCache>
                <c:formatCode>#\ ##0.0</c:formatCode>
                <c:ptCount val="10"/>
                <c:pt idx="0">
                  <c:v>249365.9</c:v>
                </c:pt>
                <c:pt idx="1">
                  <c:v>229029.5</c:v>
                </c:pt>
                <c:pt idx="2">
                  <c:v>230324.6</c:v>
                </c:pt>
                <c:pt idx="3">
                  <c:v>225919</c:v>
                </c:pt>
                <c:pt idx="4">
                  <c:v>222506.7</c:v>
                </c:pt>
                <c:pt idx="5">
                  <c:v>249909.7</c:v>
                </c:pt>
                <c:pt idx="6">
                  <c:v>292068.8</c:v>
                </c:pt>
                <c:pt idx="7">
                  <c:v>399870.6</c:v>
                </c:pt>
                <c:pt idx="8">
                  <c:v>348997.1</c:v>
                </c:pt>
                <c:pt idx="9">
                  <c:v>426046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1CC-4D7C-A56C-0AFA37B256AC}"/>
            </c:ext>
          </c:extLst>
        </c:ser>
        <c:ser>
          <c:idx val="2"/>
          <c:order val="2"/>
          <c:tx>
            <c:strRef>
              <c:f>'2009-2019'!$B$26</c:f>
              <c:strCache>
                <c:ptCount val="1"/>
                <c:pt idx="0">
                  <c:v>Rendvédelem és közbiztonság</c:v>
                </c:pt>
              </c:strCache>
            </c:strRef>
          </c:tx>
          <c:spPr>
            <a:solidFill>
              <a:srgbClr val="FFFF00"/>
            </a:solidFill>
            <a:ln>
              <a:noFill/>
            </a:ln>
            <a:effectLst/>
          </c:spPr>
          <c:cat>
            <c:strRef>
              <c:f>'2009-2019'!$C$23:$L$23</c:f>
              <c:strCach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*</c:v>
                </c:pt>
                <c:pt idx="9">
                  <c:v>2019*</c:v>
                </c:pt>
              </c:strCache>
            </c:strRef>
          </c:cat>
          <c:val>
            <c:numRef>
              <c:f>'2009-2019'!$C$26:$L$26</c:f>
              <c:numCache>
                <c:formatCode>#\ ##0.0</c:formatCode>
                <c:ptCount val="10"/>
                <c:pt idx="0">
                  <c:v>501206.89999999991</c:v>
                </c:pt>
                <c:pt idx="1">
                  <c:v>531522.19999999972</c:v>
                </c:pt>
                <c:pt idx="2">
                  <c:v>540840.5</c:v>
                </c:pt>
                <c:pt idx="3">
                  <c:v>576552.69999999972</c:v>
                </c:pt>
                <c:pt idx="4">
                  <c:v>598203.30000000005</c:v>
                </c:pt>
                <c:pt idx="5">
                  <c:v>683049.1</c:v>
                </c:pt>
                <c:pt idx="6">
                  <c:v>789696.5</c:v>
                </c:pt>
                <c:pt idx="7">
                  <c:v>897676.9</c:v>
                </c:pt>
                <c:pt idx="8">
                  <c:v>892151.49999999977</c:v>
                </c:pt>
                <c:pt idx="9">
                  <c:v>855744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31CC-4D7C-A56C-0AFA37B256AC}"/>
            </c:ext>
          </c:extLst>
        </c:ser>
        <c:ser>
          <c:idx val="3"/>
          <c:order val="3"/>
          <c:tx>
            <c:strRef>
              <c:f>'2009-2019'!$B$27</c:f>
              <c:strCache>
                <c:ptCount val="1"/>
                <c:pt idx="0">
                  <c:v>Oktatási tevékenységek és szolgáltatások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cat>
            <c:strRef>
              <c:f>'2009-2019'!$C$23:$L$23</c:f>
              <c:strCach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*</c:v>
                </c:pt>
                <c:pt idx="9">
                  <c:v>2019*</c:v>
                </c:pt>
              </c:strCache>
            </c:strRef>
          </c:cat>
          <c:val>
            <c:numRef>
              <c:f>'2009-2019'!$C$27:$L$27</c:f>
              <c:numCache>
                <c:formatCode>#\ ##0.0</c:formatCode>
                <c:ptCount val="10"/>
                <c:pt idx="0">
                  <c:v>1571586.4</c:v>
                </c:pt>
                <c:pt idx="1">
                  <c:v>1575946.8000000003</c:v>
                </c:pt>
                <c:pt idx="2">
                  <c:v>1447459.6000000003</c:v>
                </c:pt>
                <c:pt idx="3">
                  <c:v>1581545.3</c:v>
                </c:pt>
                <c:pt idx="4">
                  <c:v>1720913.8</c:v>
                </c:pt>
                <c:pt idx="5">
                  <c:v>1870415.3</c:v>
                </c:pt>
                <c:pt idx="6">
                  <c:v>1846510.2000000002</c:v>
                </c:pt>
                <c:pt idx="7">
                  <c:v>2014262.7000000002</c:v>
                </c:pt>
                <c:pt idx="8">
                  <c:v>1983174.5</c:v>
                </c:pt>
                <c:pt idx="9">
                  <c:v>200898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31CC-4D7C-A56C-0AFA37B256AC}"/>
            </c:ext>
          </c:extLst>
        </c:ser>
        <c:ser>
          <c:idx val="4"/>
          <c:order val="4"/>
          <c:tx>
            <c:strRef>
              <c:f>'2009-2019'!$B$28</c:f>
              <c:strCache>
                <c:ptCount val="1"/>
                <c:pt idx="0">
                  <c:v>Egészségügy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cat>
            <c:strRef>
              <c:f>'2009-2019'!$C$23:$L$23</c:f>
              <c:strCach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*</c:v>
                </c:pt>
                <c:pt idx="9">
                  <c:v>2019*</c:v>
                </c:pt>
              </c:strCache>
            </c:strRef>
          </c:cat>
          <c:val>
            <c:numRef>
              <c:f>'2009-2019'!$C$28:$L$28</c:f>
              <c:numCache>
                <c:formatCode>#\ ##0.0</c:formatCode>
                <c:ptCount val="10"/>
                <c:pt idx="0">
                  <c:v>1228485.7</c:v>
                </c:pt>
                <c:pt idx="1">
                  <c:v>1285660</c:v>
                </c:pt>
                <c:pt idx="2">
                  <c:v>1206203.4000000004</c:v>
                </c:pt>
                <c:pt idx="3">
                  <c:v>1343176.2</c:v>
                </c:pt>
                <c:pt idx="4">
                  <c:v>1403342.1</c:v>
                </c:pt>
                <c:pt idx="5">
                  <c:v>1632460.9</c:v>
                </c:pt>
                <c:pt idx="6">
                  <c:v>1520982.5</c:v>
                </c:pt>
                <c:pt idx="7">
                  <c:v>1630637.9</c:v>
                </c:pt>
                <c:pt idx="8">
                  <c:v>1644754.1</c:v>
                </c:pt>
                <c:pt idx="9">
                  <c:v>16627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31CC-4D7C-A56C-0AFA37B256AC}"/>
            </c:ext>
          </c:extLst>
        </c:ser>
        <c:ser>
          <c:idx val="5"/>
          <c:order val="5"/>
          <c:tx>
            <c:strRef>
              <c:f>'2009-2019'!$B$29</c:f>
              <c:strCache>
                <c:ptCount val="1"/>
                <c:pt idx="0">
                  <c:v>Társadalombiztosítási és jóléti szolgáltatások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cat>
            <c:strRef>
              <c:f>'2009-2019'!$C$23:$L$23</c:f>
              <c:strCach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*</c:v>
                </c:pt>
                <c:pt idx="9">
                  <c:v>2019*</c:v>
                </c:pt>
              </c:strCache>
            </c:strRef>
          </c:cat>
          <c:val>
            <c:numRef>
              <c:f>'2009-2019'!$C$29:$L$29</c:f>
              <c:numCache>
                <c:formatCode>#\ ##0.0</c:formatCode>
                <c:ptCount val="10"/>
                <c:pt idx="0">
                  <c:v>4683966</c:v>
                </c:pt>
                <c:pt idx="1">
                  <c:v>4697891.8</c:v>
                </c:pt>
                <c:pt idx="2">
                  <c:v>4748665.9000000004</c:v>
                </c:pt>
                <c:pt idx="3">
                  <c:v>4982967.6000000006</c:v>
                </c:pt>
                <c:pt idx="4">
                  <c:v>5030880.8999999994</c:v>
                </c:pt>
                <c:pt idx="5">
                  <c:v>5100606.9000000004</c:v>
                </c:pt>
                <c:pt idx="6">
                  <c:v>5139154.9000000004</c:v>
                </c:pt>
                <c:pt idx="7">
                  <c:v>5327181.3999999994</c:v>
                </c:pt>
                <c:pt idx="8">
                  <c:v>5516048.3000000007</c:v>
                </c:pt>
                <c:pt idx="9">
                  <c:v>56803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31CC-4D7C-A56C-0AFA37B256AC}"/>
            </c:ext>
          </c:extLst>
        </c:ser>
        <c:ser>
          <c:idx val="6"/>
          <c:order val="6"/>
          <c:tx>
            <c:strRef>
              <c:f>'2009-2019'!$B$30</c:f>
              <c:strCache>
                <c:ptCount val="1"/>
                <c:pt idx="0">
                  <c:v>Lakásügyek, települési és közösségi tevékenységek és szolgáltatások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cat>
            <c:strRef>
              <c:f>'2009-2019'!$C$23:$L$23</c:f>
              <c:strCach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*</c:v>
                </c:pt>
                <c:pt idx="9">
                  <c:v>2019*</c:v>
                </c:pt>
              </c:strCache>
            </c:strRef>
          </c:cat>
          <c:val>
            <c:numRef>
              <c:f>'2009-2019'!$C$30:$L$30</c:f>
              <c:numCache>
                <c:formatCode>#\ ##0.0</c:formatCode>
                <c:ptCount val="10"/>
                <c:pt idx="0">
                  <c:v>451657.2</c:v>
                </c:pt>
                <c:pt idx="1">
                  <c:v>414735.4</c:v>
                </c:pt>
                <c:pt idx="2">
                  <c:v>442718.6</c:v>
                </c:pt>
                <c:pt idx="3">
                  <c:v>473155.5</c:v>
                </c:pt>
                <c:pt idx="4">
                  <c:v>465296.2</c:v>
                </c:pt>
                <c:pt idx="5">
                  <c:v>558250</c:v>
                </c:pt>
                <c:pt idx="6">
                  <c:v>384980.8</c:v>
                </c:pt>
                <c:pt idx="7">
                  <c:v>483204.6</c:v>
                </c:pt>
                <c:pt idx="8">
                  <c:v>625430</c:v>
                </c:pt>
                <c:pt idx="9">
                  <c:v>642914.199999999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31CC-4D7C-A56C-0AFA37B256AC}"/>
            </c:ext>
          </c:extLst>
        </c:ser>
        <c:ser>
          <c:idx val="7"/>
          <c:order val="7"/>
          <c:tx>
            <c:strRef>
              <c:f>'2009-2019'!$B$31</c:f>
              <c:strCache>
                <c:ptCount val="1"/>
                <c:pt idx="0">
                  <c:v>Szórakoztató, kulturális, és vallási tevékenységek és szolgáltatások</c:v>
                </c:pt>
              </c:strCache>
            </c:strRef>
          </c:tx>
          <c:spPr>
            <a:solidFill>
              <a:srgbClr val="006600"/>
            </a:solidFill>
            <a:ln>
              <a:noFill/>
            </a:ln>
            <a:effectLst/>
          </c:spPr>
          <c:cat>
            <c:strRef>
              <c:f>'2009-2019'!$C$23:$L$23</c:f>
              <c:strCach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*</c:v>
                </c:pt>
                <c:pt idx="9">
                  <c:v>2019*</c:v>
                </c:pt>
              </c:strCache>
            </c:strRef>
          </c:cat>
          <c:val>
            <c:numRef>
              <c:f>'2009-2019'!$C$31:$L$31</c:f>
              <c:numCache>
                <c:formatCode>#\ ##0.0</c:formatCode>
                <c:ptCount val="10"/>
                <c:pt idx="0">
                  <c:v>394048.5</c:v>
                </c:pt>
                <c:pt idx="1">
                  <c:v>417203</c:v>
                </c:pt>
                <c:pt idx="2">
                  <c:v>412696.80000000005</c:v>
                </c:pt>
                <c:pt idx="3">
                  <c:v>465767.7</c:v>
                </c:pt>
                <c:pt idx="4">
                  <c:v>560780.80000000005</c:v>
                </c:pt>
                <c:pt idx="5">
                  <c:v>620030.9</c:v>
                </c:pt>
                <c:pt idx="6">
                  <c:v>955716.20000000007</c:v>
                </c:pt>
                <c:pt idx="7">
                  <c:v>1122181</c:v>
                </c:pt>
                <c:pt idx="8">
                  <c:v>715341.1</c:v>
                </c:pt>
                <c:pt idx="9">
                  <c:v>98622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31CC-4D7C-A56C-0AFA37B256AC}"/>
            </c:ext>
          </c:extLst>
        </c:ser>
        <c:ser>
          <c:idx val="8"/>
          <c:order val="8"/>
          <c:tx>
            <c:strRef>
              <c:f>'2009-2019'!$B$32</c:f>
              <c:strCache>
                <c:ptCount val="1"/>
                <c:pt idx="0">
                  <c:v>Gazdasági funkció összesen (F9-F14)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cat>
            <c:strRef>
              <c:f>'2009-2019'!$C$23:$L$23</c:f>
              <c:strCach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*</c:v>
                </c:pt>
                <c:pt idx="9">
                  <c:v>2019*</c:v>
                </c:pt>
              </c:strCache>
            </c:strRef>
          </c:cat>
          <c:val>
            <c:numRef>
              <c:f>'2009-2019'!$C$32:$L$32</c:f>
              <c:numCache>
                <c:formatCode>#\ ##0.0</c:formatCode>
                <c:ptCount val="10"/>
                <c:pt idx="0">
                  <c:v>1922773.4</c:v>
                </c:pt>
                <c:pt idx="1">
                  <c:v>1988388.7000000002</c:v>
                </c:pt>
                <c:pt idx="2">
                  <c:v>2161423.6</c:v>
                </c:pt>
                <c:pt idx="3">
                  <c:v>2716060.5999999992</c:v>
                </c:pt>
                <c:pt idx="4">
                  <c:v>3047125</c:v>
                </c:pt>
                <c:pt idx="5">
                  <c:v>3430888.4</c:v>
                </c:pt>
                <c:pt idx="6">
                  <c:v>2828383.8</c:v>
                </c:pt>
                <c:pt idx="7">
                  <c:v>3432939.3</c:v>
                </c:pt>
                <c:pt idx="8">
                  <c:v>4107152.6999999997</c:v>
                </c:pt>
                <c:pt idx="9">
                  <c:v>3918078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31CC-4D7C-A56C-0AFA37B256AC}"/>
            </c:ext>
          </c:extLst>
        </c:ser>
        <c:ser>
          <c:idx val="9"/>
          <c:order val="9"/>
          <c:tx>
            <c:strRef>
              <c:f>'2009-2019'!$B$33</c:f>
              <c:strCache>
                <c:ptCount val="1"/>
                <c:pt idx="0">
                  <c:v>Államadósság-kezelés, államháztartás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cat>
            <c:strRef>
              <c:f>'2009-2019'!$C$23:$L$23</c:f>
              <c:strCach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*</c:v>
                </c:pt>
                <c:pt idx="9">
                  <c:v>2019*</c:v>
                </c:pt>
              </c:strCache>
            </c:strRef>
          </c:cat>
          <c:val>
            <c:numRef>
              <c:f>'2009-2019'!$C$33:$L$33</c:f>
              <c:numCache>
                <c:formatCode>#\ ##0.0</c:formatCode>
                <c:ptCount val="10"/>
                <c:pt idx="0">
                  <c:v>1156591.2</c:v>
                </c:pt>
                <c:pt idx="1">
                  <c:v>1123557.5</c:v>
                </c:pt>
                <c:pt idx="2">
                  <c:v>1228483.7</c:v>
                </c:pt>
                <c:pt idx="3">
                  <c:v>1351953.9</c:v>
                </c:pt>
                <c:pt idx="4">
                  <c:v>1456283.2</c:v>
                </c:pt>
                <c:pt idx="5">
                  <c:v>1256392.4000000004</c:v>
                </c:pt>
                <c:pt idx="6">
                  <c:v>1174873.2</c:v>
                </c:pt>
                <c:pt idx="7">
                  <c:v>1151083</c:v>
                </c:pt>
                <c:pt idx="8">
                  <c:v>1044276.7</c:v>
                </c:pt>
                <c:pt idx="9">
                  <c:v>1024665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31CC-4D7C-A56C-0AFA37B256AC}"/>
            </c:ext>
          </c:extLst>
        </c:ser>
        <c:ser>
          <c:idx val="10"/>
          <c:order val="10"/>
          <c:tx>
            <c:strRef>
              <c:f>'2009-2019'!$B$34</c:f>
              <c:strCache>
                <c:ptCount val="1"/>
                <c:pt idx="0">
                  <c:v>A főcsoportokba nem sorolható tételek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cat>
            <c:strRef>
              <c:f>'2009-2019'!$C$23:$L$23</c:f>
              <c:strCach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*</c:v>
                </c:pt>
                <c:pt idx="9">
                  <c:v>2019*</c:v>
                </c:pt>
              </c:strCache>
            </c:strRef>
          </c:cat>
          <c:val>
            <c:numRef>
              <c:f>'2009-2019'!$C$34:$L$34</c:f>
              <c:numCache>
                <c:formatCode>#\ ##0.0</c:formatCode>
                <c:ptCount val="10"/>
                <c:pt idx="0">
                  <c:v>69051.5</c:v>
                </c:pt>
                <c:pt idx="1">
                  <c:v>269838.3</c:v>
                </c:pt>
                <c:pt idx="2">
                  <c:v>249054.9</c:v>
                </c:pt>
                <c:pt idx="3">
                  <c:v>57427.199999999997</c:v>
                </c:pt>
                <c:pt idx="4">
                  <c:v>24019.200000000001</c:v>
                </c:pt>
                <c:pt idx="5">
                  <c:v>46410.8</c:v>
                </c:pt>
                <c:pt idx="6">
                  <c:v>16169.6</c:v>
                </c:pt>
                <c:pt idx="7">
                  <c:v>25406.3</c:v>
                </c:pt>
                <c:pt idx="8">
                  <c:v>242079</c:v>
                </c:pt>
                <c:pt idx="9">
                  <c:v>254713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31CC-4D7C-A56C-0AFA37B256AC}"/>
            </c:ext>
          </c:extLst>
        </c:ser>
        <c:dLbls/>
        <c:overlap val="100"/>
        <c:axId val="180719616"/>
        <c:axId val="180721152"/>
      </c:barChart>
      <c:catAx>
        <c:axId val="180719616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80721152"/>
        <c:crosses val="autoZero"/>
        <c:auto val="1"/>
        <c:lblAlgn val="ctr"/>
        <c:lblOffset val="100"/>
      </c:catAx>
      <c:valAx>
        <c:axId val="180721152"/>
        <c:scaling>
          <c:orientation val="minMax"/>
          <c:max val="20000000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80719616"/>
        <c:crosses val="autoZero"/>
        <c:crossBetween val="between"/>
        <c:dispUnits>
          <c:builtInUnit val="thousands"/>
        </c:dispUnits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6186101478344604E-3"/>
          <c:y val="0.72674862452944455"/>
          <c:w val="0.98258594824915502"/>
          <c:h val="0.27325135503324677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 sz="1200"/>
      </a:pPr>
      <a:endParaRPr lang="hu-HU"/>
    </a:p>
  </c:txPr>
  <c:externalData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hu-HU"/>
  <c:clrMapOvr bg1="lt1" tx1="dk1" bg2="lt2" tx2="dk2" accent1="accent1" accent2="accent2" accent3="accent3" accent4="accent4" accent5="accent5" accent6="accent6" hlink="hlink" folHlink="folHlink"/>
  <c:chart>
    <c:plotArea>
      <c:layout/>
      <c:barChart>
        <c:barDir val="col"/>
        <c:grouping val="stacked"/>
        <c:ser>
          <c:idx val="1"/>
          <c:order val="1"/>
          <c:tx>
            <c:strRef>
              <c:f>'3.1.6.'!$C$31:$C$32</c:f>
              <c:strCache>
                <c:ptCount val="2"/>
                <c:pt idx="0">
                  <c:v>mezőgazdaság, erdőgazdálkodás, halászat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cat>
            <c:numRef>
              <c:f>'3.1.6.'!$A$33:$A$54</c:f>
              <c:numCache>
                <c:formatCode>General</c:formatCode>
                <c:ptCount val="22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  <c:pt idx="20">
                  <c:v>2016</c:v>
                </c:pt>
                <c:pt idx="21">
                  <c:v>2017</c:v>
                </c:pt>
              </c:numCache>
            </c:numRef>
          </c:cat>
          <c:val>
            <c:numRef>
              <c:f>'3.1.6.'!$C$33:$C$54</c:f>
              <c:numCache>
                <c:formatCode>0.0</c:formatCode>
                <c:ptCount val="22"/>
                <c:pt idx="0">
                  <c:v>0.30000000000000004</c:v>
                </c:pt>
                <c:pt idx="1">
                  <c:v>-0.30000000000000004</c:v>
                </c:pt>
                <c:pt idx="2">
                  <c:v>0.30000000000000004</c:v>
                </c:pt>
                <c:pt idx="3">
                  <c:v>0.2</c:v>
                </c:pt>
                <c:pt idx="4">
                  <c:v>-0.5</c:v>
                </c:pt>
                <c:pt idx="5">
                  <c:v>0.60000000000000009</c:v>
                </c:pt>
                <c:pt idx="6">
                  <c:v>-0.8</c:v>
                </c:pt>
                <c:pt idx="7">
                  <c:v>0.1</c:v>
                </c:pt>
                <c:pt idx="8">
                  <c:v>1.9000000000000001</c:v>
                </c:pt>
                <c:pt idx="9">
                  <c:v>-0.2</c:v>
                </c:pt>
                <c:pt idx="10">
                  <c:v>-0.2</c:v>
                </c:pt>
                <c:pt idx="11">
                  <c:v>-0.8</c:v>
                </c:pt>
                <c:pt idx="12">
                  <c:v>1.9000000000000001</c:v>
                </c:pt>
                <c:pt idx="13">
                  <c:v>-0.4</c:v>
                </c:pt>
                <c:pt idx="14">
                  <c:v>-0.70000000000000007</c:v>
                </c:pt>
                <c:pt idx="15">
                  <c:v>0.5</c:v>
                </c:pt>
                <c:pt idx="16">
                  <c:v>-0.8</c:v>
                </c:pt>
                <c:pt idx="17">
                  <c:v>0.60000000000000009</c:v>
                </c:pt>
                <c:pt idx="18">
                  <c:v>0.70000000000000007</c:v>
                </c:pt>
                <c:pt idx="19">
                  <c:v>-0.2</c:v>
                </c:pt>
                <c:pt idx="20" formatCode="#\ ##0.0">
                  <c:v>0.4</c:v>
                </c:pt>
                <c:pt idx="21" formatCode="General">
                  <c:v>-0.300000000000000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BD7-4862-A8C6-694FD76B2AC2}"/>
            </c:ext>
          </c:extLst>
        </c:ser>
        <c:ser>
          <c:idx val="2"/>
          <c:order val="2"/>
          <c:tx>
            <c:strRef>
              <c:f>'3.1.6.'!$D$31:$D$32</c:f>
              <c:strCache>
                <c:ptCount val="2"/>
                <c:pt idx="0">
                  <c:v>ipar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cat>
            <c:numRef>
              <c:f>'3.1.6.'!$A$33:$A$54</c:f>
              <c:numCache>
                <c:formatCode>General</c:formatCode>
                <c:ptCount val="22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  <c:pt idx="20">
                  <c:v>2016</c:v>
                </c:pt>
                <c:pt idx="21">
                  <c:v>2017</c:v>
                </c:pt>
              </c:numCache>
            </c:numRef>
          </c:cat>
          <c:val>
            <c:numRef>
              <c:f>'3.1.6.'!$D$33:$D$54</c:f>
              <c:numCache>
                <c:formatCode>0.0</c:formatCode>
                <c:ptCount val="22"/>
                <c:pt idx="0">
                  <c:v>1</c:v>
                </c:pt>
                <c:pt idx="1">
                  <c:v>2.4</c:v>
                </c:pt>
                <c:pt idx="2">
                  <c:v>1.7</c:v>
                </c:pt>
                <c:pt idx="3">
                  <c:v>1.3</c:v>
                </c:pt>
                <c:pt idx="4">
                  <c:v>0.60000000000000009</c:v>
                </c:pt>
                <c:pt idx="5">
                  <c:v>0.70000000000000007</c:v>
                </c:pt>
                <c:pt idx="6">
                  <c:v>1.3</c:v>
                </c:pt>
                <c:pt idx="7">
                  <c:v>1.1000000000000001</c:v>
                </c:pt>
                <c:pt idx="8">
                  <c:v>1.1000000000000001</c:v>
                </c:pt>
                <c:pt idx="9">
                  <c:v>0.8</c:v>
                </c:pt>
                <c:pt idx="10" formatCode="#\ ##0.0">
                  <c:v>1.3</c:v>
                </c:pt>
                <c:pt idx="11">
                  <c:v>1.7</c:v>
                </c:pt>
                <c:pt idx="12">
                  <c:v>-1</c:v>
                </c:pt>
                <c:pt idx="13">
                  <c:v>-3</c:v>
                </c:pt>
                <c:pt idx="14">
                  <c:v>1.6</c:v>
                </c:pt>
                <c:pt idx="15">
                  <c:v>0.1</c:v>
                </c:pt>
                <c:pt idx="16">
                  <c:v>-0.5</c:v>
                </c:pt>
                <c:pt idx="17">
                  <c:v>-0.60000000000000009</c:v>
                </c:pt>
                <c:pt idx="18">
                  <c:v>1.3</c:v>
                </c:pt>
                <c:pt idx="19">
                  <c:v>2</c:v>
                </c:pt>
                <c:pt idx="20" formatCode="#\ ##0.0">
                  <c:v>0.2</c:v>
                </c:pt>
                <c:pt idx="21" formatCode="General">
                  <c:v>0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BD7-4862-A8C6-694FD76B2AC2}"/>
            </c:ext>
          </c:extLst>
        </c:ser>
        <c:ser>
          <c:idx val="3"/>
          <c:order val="3"/>
          <c:tx>
            <c:strRef>
              <c:f>'3.1.6.'!$E$31:$E$32</c:f>
              <c:strCache>
                <c:ptCount val="2"/>
                <c:pt idx="0">
                  <c:v>építőipar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cat>
            <c:numRef>
              <c:f>'3.1.6.'!$A$33:$A$54</c:f>
              <c:numCache>
                <c:formatCode>General</c:formatCode>
                <c:ptCount val="22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  <c:pt idx="20">
                  <c:v>2016</c:v>
                </c:pt>
                <c:pt idx="21">
                  <c:v>2017</c:v>
                </c:pt>
              </c:numCache>
            </c:numRef>
          </c:cat>
          <c:val>
            <c:numRef>
              <c:f>'3.1.6.'!$E$33:$E$54</c:f>
              <c:numCache>
                <c:formatCode>0.0</c:formatCode>
                <c:ptCount val="22"/>
                <c:pt idx="0">
                  <c:v>-0.30000000000000004</c:v>
                </c:pt>
                <c:pt idx="1">
                  <c:v>0.30000000000000004</c:v>
                </c:pt>
                <c:pt idx="2">
                  <c:v>0.30000000000000004</c:v>
                </c:pt>
                <c:pt idx="3">
                  <c:v>0.30000000000000004</c:v>
                </c:pt>
                <c:pt idx="4">
                  <c:v>0.4</c:v>
                </c:pt>
                <c:pt idx="5">
                  <c:v>0.30000000000000004</c:v>
                </c:pt>
                <c:pt idx="6">
                  <c:v>0.60000000000000009</c:v>
                </c:pt>
                <c:pt idx="7">
                  <c:v>0</c:v>
                </c:pt>
                <c:pt idx="8">
                  <c:v>0.1</c:v>
                </c:pt>
                <c:pt idx="9">
                  <c:v>0.5</c:v>
                </c:pt>
                <c:pt idx="10">
                  <c:v>-0.2</c:v>
                </c:pt>
                <c:pt idx="11">
                  <c:v>-0.30000000000000004</c:v>
                </c:pt>
                <c:pt idx="12">
                  <c:v>-0.4</c:v>
                </c:pt>
                <c:pt idx="13">
                  <c:v>-0.2</c:v>
                </c:pt>
                <c:pt idx="14">
                  <c:v>-0.4</c:v>
                </c:pt>
                <c:pt idx="15">
                  <c:v>0.1</c:v>
                </c:pt>
                <c:pt idx="16">
                  <c:v>-0.2</c:v>
                </c:pt>
                <c:pt idx="17">
                  <c:v>0.2</c:v>
                </c:pt>
                <c:pt idx="18">
                  <c:v>0.4</c:v>
                </c:pt>
                <c:pt idx="19">
                  <c:v>0.1</c:v>
                </c:pt>
                <c:pt idx="20" formatCode="#\ ##0.0">
                  <c:v>-0.4</c:v>
                </c:pt>
                <c:pt idx="21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EBD7-4862-A8C6-694FD76B2AC2}"/>
            </c:ext>
          </c:extLst>
        </c:ser>
        <c:ser>
          <c:idx val="4"/>
          <c:order val="4"/>
          <c:tx>
            <c:strRef>
              <c:f>'3.1.6.'!$F$31:$F$32</c:f>
              <c:strCache>
                <c:ptCount val="2"/>
                <c:pt idx="0">
                  <c:v>szolgáltatások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cat>
            <c:numRef>
              <c:f>'3.1.6.'!$A$33:$A$54</c:f>
              <c:numCache>
                <c:formatCode>General</c:formatCode>
                <c:ptCount val="22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  <c:pt idx="20">
                  <c:v>2016</c:v>
                </c:pt>
                <c:pt idx="21">
                  <c:v>2017</c:v>
                </c:pt>
              </c:numCache>
            </c:numRef>
          </c:cat>
          <c:val>
            <c:numRef>
              <c:f>'3.1.6.'!$F$33:$F$54</c:f>
              <c:numCache>
                <c:formatCode>0.0</c:formatCode>
                <c:ptCount val="22"/>
                <c:pt idx="0">
                  <c:v>0.1</c:v>
                </c:pt>
                <c:pt idx="1">
                  <c:v>0.4</c:v>
                </c:pt>
                <c:pt idx="2">
                  <c:v>1.3</c:v>
                </c:pt>
                <c:pt idx="3" formatCode="#\ ##0.0">
                  <c:v>0.9</c:v>
                </c:pt>
                <c:pt idx="4">
                  <c:v>3</c:v>
                </c:pt>
                <c:pt idx="5">
                  <c:v>1.7</c:v>
                </c:pt>
                <c:pt idx="6">
                  <c:v>2.8</c:v>
                </c:pt>
                <c:pt idx="7">
                  <c:v>2.2000000000000002</c:v>
                </c:pt>
                <c:pt idx="8">
                  <c:v>1.1000000000000001</c:v>
                </c:pt>
                <c:pt idx="9">
                  <c:v>2.7</c:v>
                </c:pt>
                <c:pt idx="10">
                  <c:v>2.4</c:v>
                </c:pt>
                <c:pt idx="11">
                  <c:v>-0.30000000000000004</c:v>
                </c:pt>
                <c:pt idx="12" formatCode="#\ ##0.0">
                  <c:v>0.1</c:v>
                </c:pt>
                <c:pt idx="13" formatCode="#\ ##0.0">
                  <c:v>-2.2000000000000002</c:v>
                </c:pt>
                <c:pt idx="14">
                  <c:v>0</c:v>
                </c:pt>
                <c:pt idx="15" formatCode="#\ ##0.0">
                  <c:v>0.9</c:v>
                </c:pt>
                <c:pt idx="16" formatCode="#\ ##0.0">
                  <c:v>0</c:v>
                </c:pt>
                <c:pt idx="17">
                  <c:v>2.1</c:v>
                </c:pt>
                <c:pt idx="18" formatCode="#\ ##0.0">
                  <c:v>1.5</c:v>
                </c:pt>
                <c:pt idx="19">
                  <c:v>0.9</c:v>
                </c:pt>
                <c:pt idx="20" formatCode="#\ ##0.0">
                  <c:v>1.8</c:v>
                </c:pt>
                <c:pt idx="21" formatCode="General">
                  <c:v>1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EBD7-4862-A8C6-694FD76B2AC2}"/>
            </c:ext>
          </c:extLst>
        </c:ser>
        <c:ser>
          <c:idx val="5"/>
          <c:order val="5"/>
          <c:tx>
            <c:strRef>
              <c:f>'3.1.6.'!$G$31:$G$32</c:f>
              <c:strCache>
                <c:ptCount val="2"/>
                <c:pt idx="0">
                  <c:v>termékadók és -támogatások egyenlege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cat>
            <c:numRef>
              <c:f>'3.1.6.'!$A$33:$A$54</c:f>
              <c:numCache>
                <c:formatCode>General</c:formatCode>
                <c:ptCount val="22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  <c:pt idx="20">
                  <c:v>2016</c:v>
                </c:pt>
                <c:pt idx="21">
                  <c:v>2017</c:v>
                </c:pt>
              </c:numCache>
            </c:numRef>
          </c:cat>
          <c:val>
            <c:numRef>
              <c:f>'3.1.6.'!$G$33:$G$54</c:f>
              <c:numCache>
                <c:formatCode>0.0</c:formatCode>
                <c:ptCount val="22"/>
                <c:pt idx="0">
                  <c:v>-1.1000000000000001</c:v>
                </c:pt>
                <c:pt idx="1">
                  <c:v>0.5</c:v>
                </c:pt>
                <c:pt idx="2">
                  <c:v>0.70000000000000007</c:v>
                </c:pt>
                <c:pt idx="3">
                  <c:v>0.5</c:v>
                </c:pt>
                <c:pt idx="4">
                  <c:v>0.70000000000000007</c:v>
                </c:pt>
                <c:pt idx="5">
                  <c:v>0.5</c:v>
                </c:pt>
                <c:pt idx="6">
                  <c:v>0.60000000000000009</c:v>
                </c:pt>
                <c:pt idx="7">
                  <c:v>0.4</c:v>
                </c:pt>
                <c:pt idx="8">
                  <c:v>0.70000000000000007</c:v>
                </c:pt>
                <c:pt idx="9">
                  <c:v>0.60000000000000009</c:v>
                </c:pt>
                <c:pt idx="10">
                  <c:v>0.5</c:v>
                </c:pt>
                <c:pt idx="11">
                  <c:v>0.1</c:v>
                </c:pt>
                <c:pt idx="12">
                  <c:v>0.30000000000000004</c:v>
                </c:pt>
                <c:pt idx="13">
                  <c:v>-0.9</c:v>
                </c:pt>
                <c:pt idx="14">
                  <c:v>0.1</c:v>
                </c:pt>
                <c:pt idx="15">
                  <c:v>0.1</c:v>
                </c:pt>
                <c:pt idx="16">
                  <c:v>-0.2</c:v>
                </c:pt>
                <c:pt idx="17">
                  <c:v>-0.2</c:v>
                </c:pt>
                <c:pt idx="18" formatCode="#\ ##0.0">
                  <c:v>0.5</c:v>
                </c:pt>
                <c:pt idx="19">
                  <c:v>0.5</c:v>
                </c:pt>
                <c:pt idx="20" formatCode="#\ ##0.0">
                  <c:v>0.2</c:v>
                </c:pt>
                <c:pt idx="21" formatCode="General">
                  <c:v>0.6000000000000000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EBD7-4862-A8C6-694FD76B2AC2}"/>
            </c:ext>
          </c:extLst>
        </c:ser>
        <c:dLbls/>
        <c:gapWidth val="219"/>
        <c:overlap val="100"/>
        <c:axId val="181339648"/>
        <c:axId val="181341184"/>
      </c:barChart>
      <c:lineChart>
        <c:grouping val="standard"/>
        <c:ser>
          <c:idx val="0"/>
          <c:order val="0"/>
          <c:tx>
            <c:strRef>
              <c:f>'3.1.6.'!$B$31:$B$32</c:f>
              <c:strCache>
                <c:ptCount val="2"/>
                <c:pt idx="0">
                  <c:v>Bruttó hazai termék (GDP) növekedése (százalék)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numRef>
              <c:f>'3.1.6.'!$A$33:$A$54</c:f>
              <c:numCache>
                <c:formatCode>General</c:formatCode>
                <c:ptCount val="22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  <c:pt idx="20">
                  <c:v>2016</c:v>
                </c:pt>
                <c:pt idx="21">
                  <c:v>2017</c:v>
                </c:pt>
              </c:numCache>
            </c:numRef>
          </c:cat>
          <c:val>
            <c:numRef>
              <c:f>'3.1.6.'!$B$33:$B$54</c:f>
              <c:numCache>
                <c:formatCode>0.0</c:formatCode>
                <c:ptCount val="22"/>
                <c:pt idx="0">
                  <c:v>0</c:v>
                </c:pt>
                <c:pt idx="1">
                  <c:v>3.3</c:v>
                </c:pt>
                <c:pt idx="2">
                  <c:v>4.2</c:v>
                </c:pt>
                <c:pt idx="3">
                  <c:v>3.2</c:v>
                </c:pt>
                <c:pt idx="4">
                  <c:v>4.2</c:v>
                </c:pt>
                <c:pt idx="5">
                  <c:v>3.8</c:v>
                </c:pt>
                <c:pt idx="6">
                  <c:v>4.5</c:v>
                </c:pt>
                <c:pt idx="7">
                  <c:v>3.8</c:v>
                </c:pt>
                <c:pt idx="8">
                  <c:v>5</c:v>
                </c:pt>
                <c:pt idx="9">
                  <c:v>4.4000000000000004</c:v>
                </c:pt>
                <c:pt idx="10">
                  <c:v>3.9</c:v>
                </c:pt>
                <c:pt idx="11">
                  <c:v>0.4</c:v>
                </c:pt>
                <c:pt idx="12">
                  <c:v>0.9</c:v>
                </c:pt>
                <c:pt idx="13">
                  <c:v>-6.6</c:v>
                </c:pt>
                <c:pt idx="14">
                  <c:v>0.70000000000000007</c:v>
                </c:pt>
                <c:pt idx="15">
                  <c:v>1.7</c:v>
                </c:pt>
                <c:pt idx="16">
                  <c:v>-1.6</c:v>
                </c:pt>
                <c:pt idx="17">
                  <c:v>2.1</c:v>
                </c:pt>
                <c:pt idx="18" formatCode="#\ ##0.0">
                  <c:v>4.2</c:v>
                </c:pt>
                <c:pt idx="19">
                  <c:v>3.4</c:v>
                </c:pt>
                <c:pt idx="20" formatCode="#\ ##0.0">
                  <c:v>2.2000000000000002</c:v>
                </c:pt>
                <c:pt idx="21" formatCode="General">
                  <c:v>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EBD7-4862-A8C6-694FD76B2AC2}"/>
            </c:ext>
          </c:extLst>
        </c:ser>
        <c:dLbls/>
        <c:marker val="1"/>
        <c:axId val="181339648"/>
        <c:axId val="181341184"/>
      </c:lineChart>
      <c:catAx>
        <c:axId val="181339648"/>
        <c:scaling>
          <c:orientation val="minMax"/>
        </c:scaling>
        <c:axPos val="b"/>
        <c:numFmt formatCode="General" sourceLinked="1"/>
        <c:maj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vert="horz"/>
          <a:lstStyle/>
          <a:p>
            <a:pPr>
              <a:defRPr sz="1400"/>
            </a:pPr>
            <a:endParaRPr lang="hu-HU"/>
          </a:p>
        </c:txPr>
        <c:crossAx val="181341184"/>
        <c:crosses val="autoZero"/>
        <c:auto val="1"/>
        <c:lblAlgn val="ctr"/>
        <c:lblOffset val="100"/>
      </c:catAx>
      <c:valAx>
        <c:axId val="181341184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hu-HU"/>
          </a:p>
        </c:txPr>
        <c:crossAx val="181339648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67146974138109827"/>
          <c:y val="8.1678865563230233E-3"/>
          <c:w val="0.31460511958477105"/>
          <c:h val="0.92549493397582505"/>
        </c:manualLayout>
      </c:layout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hu-HU"/>
        </a:p>
      </c:txPr>
    </c:legend>
    <c:plotVisOnly val="1"/>
    <c:dispBlanksAs val="gap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600"/>
      </a:pPr>
      <a:endParaRPr lang="hu-HU"/>
    </a:p>
  </c:txPr>
  <c:externalData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hu-HU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030435291974763"/>
          <c:y val="0.13976914794713005"/>
          <c:w val="0.8658030321558341"/>
          <c:h val="0.59638532276957035"/>
        </c:manualLayout>
      </c:layout>
      <c:barChart>
        <c:barDir val="col"/>
        <c:grouping val="percentStacked"/>
        <c:ser>
          <c:idx val="0"/>
          <c:order val="0"/>
          <c:tx>
            <c:strRef>
              <c:f>Data7!$B$26</c:f>
              <c:strCache>
                <c:ptCount val="1"/>
                <c:pt idx="0">
                  <c:v>Mikrovállalkozások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cat>
            <c:strRef>
              <c:f>Data7!$A$27:$A$34</c:f>
              <c:strCache>
                <c:ptCount val="8"/>
                <c:pt idx="0">
                  <c:v>Csehország</c:v>
                </c:pt>
                <c:pt idx="1">
                  <c:v>Horvátország</c:v>
                </c:pt>
                <c:pt idx="2">
                  <c:v>Magyarország</c:v>
                </c:pt>
                <c:pt idx="3">
                  <c:v>Ausztria</c:v>
                </c:pt>
                <c:pt idx="4">
                  <c:v>Lengyelország</c:v>
                </c:pt>
                <c:pt idx="5">
                  <c:v>Románia</c:v>
                </c:pt>
                <c:pt idx="6">
                  <c:v>Szlovénia</c:v>
                </c:pt>
                <c:pt idx="7">
                  <c:v>Szlovákia</c:v>
                </c:pt>
              </c:strCache>
            </c:strRef>
          </c:cat>
          <c:val>
            <c:numRef>
              <c:f>Data7!$B$27:$B$34</c:f>
              <c:numCache>
                <c:formatCode>General</c:formatCode>
                <c:ptCount val="8"/>
                <c:pt idx="0">
                  <c:v>18118.900000000001</c:v>
                </c:pt>
                <c:pt idx="1">
                  <c:v>4333.3</c:v>
                </c:pt>
                <c:pt idx="2">
                  <c:v>10284.700000000003</c:v>
                </c:pt>
                <c:pt idx="3">
                  <c:v>35558.9</c:v>
                </c:pt>
                <c:pt idx="4">
                  <c:v>32543.3</c:v>
                </c:pt>
                <c:pt idx="5">
                  <c:v>9776.2999999999975</c:v>
                </c:pt>
                <c:pt idx="6">
                  <c:v>4693.3</c:v>
                </c:pt>
                <c:pt idx="7">
                  <c:v>7921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40D-4597-BC0B-130D2E6331F1}"/>
            </c:ext>
          </c:extLst>
        </c:ser>
        <c:ser>
          <c:idx val="1"/>
          <c:order val="1"/>
          <c:tx>
            <c:strRef>
              <c:f>Data7!$C$26</c:f>
              <c:strCache>
                <c:ptCount val="1"/>
                <c:pt idx="0">
                  <c:v>Kisvállalatok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cat>
            <c:strRef>
              <c:f>Data7!$A$27:$A$34</c:f>
              <c:strCache>
                <c:ptCount val="8"/>
                <c:pt idx="0">
                  <c:v>Csehország</c:v>
                </c:pt>
                <c:pt idx="1">
                  <c:v>Horvátország</c:v>
                </c:pt>
                <c:pt idx="2">
                  <c:v>Magyarország</c:v>
                </c:pt>
                <c:pt idx="3">
                  <c:v>Ausztria</c:v>
                </c:pt>
                <c:pt idx="4">
                  <c:v>Lengyelország</c:v>
                </c:pt>
                <c:pt idx="5">
                  <c:v>Románia</c:v>
                </c:pt>
                <c:pt idx="6">
                  <c:v>Szlovénia</c:v>
                </c:pt>
                <c:pt idx="7">
                  <c:v>Szlovákia</c:v>
                </c:pt>
              </c:strCache>
            </c:strRef>
          </c:cat>
          <c:val>
            <c:numRef>
              <c:f>Data7!$C$27:$C$34</c:f>
              <c:numCache>
                <c:formatCode>General</c:formatCode>
                <c:ptCount val="8"/>
                <c:pt idx="0">
                  <c:v>13763.7</c:v>
                </c:pt>
                <c:pt idx="1">
                  <c:v>4623.1000000000004</c:v>
                </c:pt>
                <c:pt idx="2">
                  <c:v>9556.2000000000007</c:v>
                </c:pt>
                <c:pt idx="3">
                  <c:v>38934.1</c:v>
                </c:pt>
                <c:pt idx="4">
                  <c:v>25698.2</c:v>
                </c:pt>
                <c:pt idx="5">
                  <c:v>10860.5</c:v>
                </c:pt>
                <c:pt idx="6">
                  <c:v>4094.8</c:v>
                </c:pt>
                <c:pt idx="7">
                  <c:v>5008.90000000000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40D-4597-BC0B-130D2E6331F1}"/>
            </c:ext>
          </c:extLst>
        </c:ser>
        <c:ser>
          <c:idx val="2"/>
          <c:order val="2"/>
          <c:tx>
            <c:strRef>
              <c:f>Data7!$D$26</c:f>
              <c:strCache>
                <c:ptCount val="1"/>
                <c:pt idx="0">
                  <c:v>Középvállalatok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/>
          </c:spPr>
          <c:cat>
            <c:strRef>
              <c:f>Data7!$A$27:$A$34</c:f>
              <c:strCache>
                <c:ptCount val="8"/>
                <c:pt idx="0">
                  <c:v>Csehország</c:v>
                </c:pt>
                <c:pt idx="1">
                  <c:v>Horvátország</c:v>
                </c:pt>
                <c:pt idx="2">
                  <c:v>Magyarország</c:v>
                </c:pt>
                <c:pt idx="3">
                  <c:v>Ausztria</c:v>
                </c:pt>
                <c:pt idx="4">
                  <c:v>Lengyelország</c:v>
                </c:pt>
                <c:pt idx="5">
                  <c:v>Románia</c:v>
                </c:pt>
                <c:pt idx="6">
                  <c:v>Szlovénia</c:v>
                </c:pt>
                <c:pt idx="7">
                  <c:v>Szlovákia</c:v>
                </c:pt>
              </c:strCache>
            </c:strRef>
          </c:cat>
          <c:val>
            <c:numRef>
              <c:f>Data7!$D$27:$D$34</c:f>
              <c:numCache>
                <c:formatCode>#\ ##0.0</c:formatCode>
                <c:ptCount val="8"/>
                <c:pt idx="0">
                  <c:v>19966.2</c:v>
                </c:pt>
                <c:pt idx="1">
                  <c:v>4538</c:v>
                </c:pt>
                <c:pt idx="2">
                  <c:v>10457.1</c:v>
                </c:pt>
                <c:pt idx="3">
                  <c:v>42133.4</c:v>
                </c:pt>
                <c:pt idx="4">
                  <c:v>41185.4</c:v>
                </c:pt>
                <c:pt idx="5">
                  <c:v>10685.7</c:v>
                </c:pt>
                <c:pt idx="6">
                  <c:v>4500.1000000000004</c:v>
                </c:pt>
                <c:pt idx="7">
                  <c:v>6514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40D-4597-BC0B-130D2E6331F1}"/>
            </c:ext>
          </c:extLst>
        </c:ser>
        <c:ser>
          <c:idx val="3"/>
          <c:order val="3"/>
          <c:tx>
            <c:strRef>
              <c:f>Data7!$E$26</c:f>
              <c:strCache>
                <c:ptCount val="1"/>
                <c:pt idx="0">
                  <c:v>Nagyvállalatok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cat>
            <c:strRef>
              <c:f>Data7!$A$27:$A$34</c:f>
              <c:strCache>
                <c:ptCount val="8"/>
                <c:pt idx="0">
                  <c:v>Csehország</c:v>
                </c:pt>
                <c:pt idx="1">
                  <c:v>Horvátország</c:v>
                </c:pt>
                <c:pt idx="2">
                  <c:v>Magyarország</c:v>
                </c:pt>
                <c:pt idx="3">
                  <c:v>Ausztria</c:v>
                </c:pt>
                <c:pt idx="4">
                  <c:v>Lengyelország</c:v>
                </c:pt>
                <c:pt idx="5">
                  <c:v>Románia</c:v>
                </c:pt>
                <c:pt idx="6">
                  <c:v>Szlovénia</c:v>
                </c:pt>
                <c:pt idx="7">
                  <c:v>Szlovákia</c:v>
                </c:pt>
              </c:strCache>
            </c:strRef>
          </c:cat>
          <c:val>
            <c:numRef>
              <c:f>Data7!$E$27:$E$34</c:f>
              <c:numCache>
                <c:formatCode>#\ ##0.0</c:formatCode>
                <c:ptCount val="8"/>
                <c:pt idx="0">
                  <c:v>42083.6</c:v>
                </c:pt>
                <c:pt idx="1">
                  <c:v>8524.9</c:v>
                </c:pt>
                <c:pt idx="2">
                  <c:v>26287.9</c:v>
                </c:pt>
                <c:pt idx="3">
                  <c:v>69173.8</c:v>
                </c:pt>
                <c:pt idx="4">
                  <c:v>94348.4</c:v>
                </c:pt>
                <c:pt idx="5">
                  <c:v>26049.8</c:v>
                </c:pt>
                <c:pt idx="6">
                  <c:v>7289</c:v>
                </c:pt>
                <c:pt idx="7">
                  <c:v>15802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740D-4597-BC0B-130D2E6331F1}"/>
            </c:ext>
          </c:extLst>
        </c:ser>
        <c:dLbls/>
        <c:overlap val="100"/>
        <c:axId val="182033024"/>
        <c:axId val="182043008"/>
      </c:barChart>
      <c:catAx>
        <c:axId val="182033024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82043008"/>
        <c:crosses val="autoZero"/>
        <c:auto val="1"/>
        <c:lblAlgn val="ctr"/>
        <c:lblOffset val="100"/>
      </c:catAx>
      <c:valAx>
        <c:axId val="182043008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820330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2.0661216534733795E-2"/>
          <c:y val="1.7628205869683607E-2"/>
          <c:w val="0.94125849540057993"/>
          <c:h val="0.11607317602434451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 sz="1400"/>
      </a:pPr>
      <a:endParaRPr lang="hu-HU"/>
    </a:p>
  </c:txPr>
  <c:externalData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hu-HU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430762561274616"/>
          <c:y val="0.14092958002652356"/>
          <c:w val="0.86093262547981997"/>
          <c:h val="0.59522489069017692"/>
        </c:manualLayout>
      </c:layout>
      <c:barChart>
        <c:barDir val="col"/>
        <c:grouping val="percentStacked"/>
        <c:ser>
          <c:idx val="0"/>
          <c:order val="0"/>
          <c:tx>
            <c:strRef>
              <c:f>Data13!$B$26</c:f>
              <c:strCache>
                <c:ptCount val="1"/>
                <c:pt idx="0">
                  <c:v>Mikrovállalkozások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cat>
            <c:strRef>
              <c:f>Data13!$A$27:$A$34</c:f>
              <c:strCache>
                <c:ptCount val="8"/>
                <c:pt idx="0">
                  <c:v>Csehország</c:v>
                </c:pt>
                <c:pt idx="1">
                  <c:v>Horvátország</c:v>
                </c:pt>
                <c:pt idx="2">
                  <c:v>Magyarország</c:v>
                </c:pt>
                <c:pt idx="3">
                  <c:v>Ausztria</c:v>
                </c:pt>
                <c:pt idx="4">
                  <c:v>Lengyelország</c:v>
                </c:pt>
                <c:pt idx="5">
                  <c:v>Románia</c:v>
                </c:pt>
                <c:pt idx="6">
                  <c:v>Szlovénia</c:v>
                </c:pt>
                <c:pt idx="7">
                  <c:v>Szlovákia</c:v>
                </c:pt>
              </c:strCache>
            </c:strRef>
          </c:cat>
          <c:val>
            <c:numRef>
              <c:f>Data13!$B$27:$B$34</c:f>
              <c:numCache>
                <c:formatCode>#,##0</c:formatCode>
                <c:ptCount val="8"/>
                <c:pt idx="0">
                  <c:v>1134528</c:v>
                </c:pt>
                <c:pt idx="1">
                  <c:v>299791</c:v>
                </c:pt>
                <c:pt idx="2">
                  <c:v>905522</c:v>
                </c:pt>
                <c:pt idx="3">
                  <c:v>700318</c:v>
                </c:pt>
                <c:pt idx="4">
                  <c:v>3375788</c:v>
                </c:pt>
                <c:pt idx="5">
                  <c:v>900656</c:v>
                </c:pt>
                <c:pt idx="6">
                  <c:v>214243</c:v>
                </c:pt>
                <c:pt idx="7">
                  <c:v>63158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866-4DD9-A3E8-0E5000E82F15}"/>
            </c:ext>
          </c:extLst>
        </c:ser>
        <c:ser>
          <c:idx val="1"/>
          <c:order val="1"/>
          <c:tx>
            <c:strRef>
              <c:f>Data13!$C$26</c:f>
              <c:strCache>
                <c:ptCount val="1"/>
                <c:pt idx="0">
                  <c:v>Kisvállalatok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cat>
            <c:strRef>
              <c:f>Data13!$A$27:$A$34</c:f>
              <c:strCache>
                <c:ptCount val="8"/>
                <c:pt idx="0">
                  <c:v>Csehország</c:v>
                </c:pt>
                <c:pt idx="1">
                  <c:v>Horvátország</c:v>
                </c:pt>
                <c:pt idx="2">
                  <c:v>Magyarország</c:v>
                </c:pt>
                <c:pt idx="3">
                  <c:v>Ausztria</c:v>
                </c:pt>
                <c:pt idx="4">
                  <c:v>Lengyelország</c:v>
                </c:pt>
                <c:pt idx="5">
                  <c:v>Románia</c:v>
                </c:pt>
                <c:pt idx="6">
                  <c:v>Szlovénia</c:v>
                </c:pt>
                <c:pt idx="7">
                  <c:v>Szlovákia</c:v>
                </c:pt>
              </c:strCache>
            </c:strRef>
          </c:cat>
          <c:val>
            <c:numRef>
              <c:f>Data13!$C$27:$C$34</c:f>
              <c:numCache>
                <c:formatCode>#,##0</c:formatCode>
                <c:ptCount val="8"/>
                <c:pt idx="0">
                  <c:v>634490</c:v>
                </c:pt>
                <c:pt idx="1">
                  <c:v>206870</c:v>
                </c:pt>
                <c:pt idx="2">
                  <c:v>511771</c:v>
                </c:pt>
                <c:pt idx="3">
                  <c:v>677395</c:v>
                </c:pt>
                <c:pt idx="4">
                  <c:v>1176411</c:v>
                </c:pt>
                <c:pt idx="5">
                  <c:v>866720</c:v>
                </c:pt>
                <c:pt idx="6">
                  <c:v>111373</c:v>
                </c:pt>
                <c:pt idx="7">
                  <c:v>2116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866-4DD9-A3E8-0E5000E82F15}"/>
            </c:ext>
          </c:extLst>
        </c:ser>
        <c:ser>
          <c:idx val="2"/>
          <c:order val="2"/>
          <c:tx>
            <c:strRef>
              <c:f>Data13!$D$26</c:f>
              <c:strCache>
                <c:ptCount val="1"/>
                <c:pt idx="0">
                  <c:v>Középvállalatok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/>
          </c:spPr>
          <c:cat>
            <c:strRef>
              <c:f>Data13!$A$27:$A$34</c:f>
              <c:strCache>
                <c:ptCount val="8"/>
                <c:pt idx="0">
                  <c:v>Csehország</c:v>
                </c:pt>
                <c:pt idx="1">
                  <c:v>Horvátország</c:v>
                </c:pt>
                <c:pt idx="2">
                  <c:v>Magyarország</c:v>
                </c:pt>
                <c:pt idx="3">
                  <c:v>Ausztria</c:v>
                </c:pt>
                <c:pt idx="4">
                  <c:v>Lengyelország</c:v>
                </c:pt>
                <c:pt idx="5">
                  <c:v>Románia</c:v>
                </c:pt>
                <c:pt idx="6">
                  <c:v>Szlovénia</c:v>
                </c:pt>
                <c:pt idx="7">
                  <c:v>Szlovákia</c:v>
                </c:pt>
              </c:strCache>
            </c:strRef>
          </c:cat>
          <c:val>
            <c:numRef>
              <c:f>Data13!$D$27:$D$34</c:f>
              <c:numCache>
                <c:formatCode>#,##0</c:formatCode>
                <c:ptCount val="8"/>
                <c:pt idx="0">
                  <c:v>696211</c:v>
                </c:pt>
                <c:pt idx="1">
                  <c:v>185646</c:v>
                </c:pt>
                <c:pt idx="2">
                  <c:v>443080</c:v>
                </c:pt>
                <c:pt idx="3">
                  <c:v>535523</c:v>
                </c:pt>
                <c:pt idx="4">
                  <c:v>1591891</c:v>
                </c:pt>
                <c:pt idx="5">
                  <c:v>832677</c:v>
                </c:pt>
                <c:pt idx="6">
                  <c:v>115048</c:v>
                </c:pt>
                <c:pt idx="7">
                  <c:v>25144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F866-4DD9-A3E8-0E5000E82F15}"/>
            </c:ext>
          </c:extLst>
        </c:ser>
        <c:ser>
          <c:idx val="3"/>
          <c:order val="3"/>
          <c:tx>
            <c:strRef>
              <c:f>Data13!$E$26</c:f>
              <c:strCache>
                <c:ptCount val="1"/>
                <c:pt idx="0">
                  <c:v>Nagyvállalatok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cat>
            <c:strRef>
              <c:f>Data13!$A$27:$A$34</c:f>
              <c:strCache>
                <c:ptCount val="8"/>
                <c:pt idx="0">
                  <c:v>Csehország</c:v>
                </c:pt>
                <c:pt idx="1">
                  <c:v>Horvátország</c:v>
                </c:pt>
                <c:pt idx="2">
                  <c:v>Magyarország</c:v>
                </c:pt>
                <c:pt idx="3">
                  <c:v>Ausztria</c:v>
                </c:pt>
                <c:pt idx="4">
                  <c:v>Lengyelország</c:v>
                </c:pt>
                <c:pt idx="5">
                  <c:v>Románia</c:v>
                </c:pt>
                <c:pt idx="6">
                  <c:v>Szlovénia</c:v>
                </c:pt>
                <c:pt idx="7">
                  <c:v>Szlovákia</c:v>
                </c:pt>
              </c:strCache>
            </c:strRef>
          </c:cat>
          <c:val>
            <c:numRef>
              <c:f>Data13!$E$27:$E$34</c:f>
              <c:numCache>
                <c:formatCode>#,##0</c:formatCode>
                <c:ptCount val="8"/>
                <c:pt idx="0">
                  <c:v>1196643</c:v>
                </c:pt>
                <c:pt idx="1">
                  <c:v>305028</c:v>
                </c:pt>
                <c:pt idx="2">
                  <c:v>812072</c:v>
                </c:pt>
                <c:pt idx="3">
                  <c:v>865209</c:v>
                </c:pt>
                <c:pt idx="4">
                  <c:v>2865583</c:v>
                </c:pt>
                <c:pt idx="5">
                  <c:v>1378040</c:v>
                </c:pt>
                <c:pt idx="6">
                  <c:v>163575</c:v>
                </c:pt>
                <c:pt idx="7">
                  <c:v>4319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F866-4DD9-A3E8-0E5000E82F15}"/>
            </c:ext>
          </c:extLst>
        </c:ser>
        <c:dLbls/>
        <c:overlap val="100"/>
        <c:axId val="182719616"/>
        <c:axId val="182721152"/>
      </c:barChart>
      <c:catAx>
        <c:axId val="182719616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82721152"/>
        <c:crosses val="autoZero"/>
        <c:auto val="1"/>
        <c:lblAlgn val="ctr"/>
        <c:lblOffset val="100"/>
      </c:catAx>
      <c:valAx>
        <c:axId val="182721152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82719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3.2612495749290281E-2"/>
          <c:y val="1.7628209947816338E-2"/>
          <c:w val="0.94387343774477406"/>
          <c:h val="0.11607320287686836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 sz="1400"/>
      </a:pPr>
      <a:endParaRPr lang="hu-HU"/>
    </a:p>
  </c:txPr>
  <c:externalData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hu-HU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 sz="1800" b="1"/>
              <a:t>Kivitel, 2010</a:t>
            </a:r>
          </a:p>
        </c:rich>
      </c:tx>
      <c:layout/>
      <c:spPr>
        <a:noFill/>
        <a:ln>
          <a:noFill/>
        </a:ln>
        <a:effectLst/>
      </c:spPr>
    </c:title>
    <c:plotArea>
      <c:layout>
        <c:manualLayout>
          <c:layoutTarget val="inner"/>
          <c:xMode val="edge"/>
          <c:yMode val="edge"/>
          <c:x val="0.23655995784527989"/>
          <c:y val="0.14117418184220518"/>
          <c:w val="0.54584606977691119"/>
          <c:h val="0.63382128585321773"/>
        </c:manualLayout>
      </c:layout>
      <c:pieChart>
        <c:varyColors val="1"/>
        <c:ser>
          <c:idx val="0"/>
          <c:order val="0"/>
          <c:dPt>
            <c:idx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19B-429D-8EB8-85AE521B3085}"/>
              </c:ext>
            </c:extLst>
          </c:dPt>
          <c:dPt>
            <c:idx val="1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19B-429D-8EB8-85AE521B3085}"/>
              </c:ext>
            </c:extLst>
          </c:dPt>
          <c:dPt>
            <c:idx val="2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A19B-429D-8EB8-85AE521B3085}"/>
              </c:ext>
            </c:extLst>
          </c:dPt>
          <c:dPt>
            <c:idx val="3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A19B-429D-8EB8-85AE521B3085}"/>
              </c:ext>
            </c:extLst>
          </c:dPt>
          <c:dPt>
            <c:idx val="4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A19B-429D-8EB8-85AE521B3085}"/>
              </c:ext>
            </c:extLst>
          </c:dPt>
          <c:dPt>
            <c:idx val="5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A19B-429D-8EB8-85AE521B3085}"/>
              </c:ext>
            </c:extLst>
          </c:dPt>
          <c:dPt>
            <c:idx val="6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A19B-429D-8EB8-85AE521B3085}"/>
              </c:ext>
            </c:extLst>
          </c:dPt>
          <c:dLbls>
            <c:dLbl>
              <c:idx val="0"/>
              <c:layout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77%</a:t>
                    </a:r>
                  </a:p>
                </c:rich>
              </c:tx>
              <c:numFmt formatCode="0.00%" sourceLinked="0"/>
              <c:spPr>
                <a:noFill/>
                <a:ln>
                  <a:noFill/>
                </a:ln>
                <a:effectLst/>
              </c:spPr>
              <c:showPercent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A19B-429D-8EB8-85AE521B308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/>
                      <a:t>12%</a:t>
                    </a:r>
                  </a:p>
                </c:rich>
              </c:tx>
              <c:showPercent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A19B-429D-8EB8-85AE521B308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/>
                      <a:t>6%</a:t>
                    </a:r>
                  </a:p>
                </c:rich>
              </c:tx>
              <c:showPercent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A19B-429D-8EB8-85AE521B308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1%</a:t>
                    </a:r>
                  </a:p>
                </c:rich>
              </c:tx>
              <c:numFmt formatCode="0.00%" sourceLinked="0"/>
              <c:spPr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  <a:effectLst/>
              </c:spPr>
              <c:showPercent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A19B-429D-8EB8-85AE521B308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/>
                      <a:t>3%</a:t>
                    </a:r>
                    <a:endParaRPr lang="en-US" dirty="0"/>
                  </a:p>
                </c:rich>
              </c:tx>
              <c:showPercent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A19B-429D-8EB8-85AE521B308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0,5%</a:t>
                    </a:r>
                  </a:p>
                </c:rich>
              </c:tx>
              <c:numFmt formatCode="0.00%" sourceLinked="0"/>
              <c:spPr>
                <a:solidFill>
                  <a:schemeClr val="accent6">
                    <a:lumMod val="60000"/>
                    <a:lumOff val="40000"/>
                  </a:schemeClr>
                </a:solidFill>
                <a:ln>
                  <a:noFill/>
                </a:ln>
                <a:effectLst/>
              </c:spPr>
              <c:showPercent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A19B-429D-8EB8-85AE521B308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0,5%</a:t>
                    </a:r>
                  </a:p>
                </c:rich>
              </c:tx>
              <c:numFmt formatCode="0.00%" sourceLinked="0"/>
              <c:spPr>
                <a:solidFill>
                  <a:srgbClr val="00B0F0"/>
                </a:solidFill>
                <a:ln>
                  <a:noFill/>
                </a:ln>
                <a:effectLst/>
              </c:spPr>
              <c:showPercent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A19B-429D-8EB8-85AE521B308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showPercent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Munka1!$A$240:$A$246</c:f>
              <c:strCache>
                <c:ptCount val="7"/>
                <c:pt idx="0">
                  <c:v>EU-tagállamok</c:v>
                </c:pt>
                <c:pt idx="1">
                  <c:v>EU-n kívüli európai országok</c:v>
                </c:pt>
                <c:pt idx="2">
                  <c:v>Ázsiai országok</c:v>
                </c:pt>
                <c:pt idx="3">
                  <c:v>Afrikai országok</c:v>
                </c:pt>
                <c:pt idx="4">
                  <c:v>Észak-amerikai országok</c:v>
                </c:pt>
                <c:pt idx="5">
                  <c:v>Dél-amerikai országok</c:v>
                </c:pt>
                <c:pt idx="6">
                  <c:v>Auszrália és óceániai országok</c:v>
                </c:pt>
              </c:strCache>
            </c:strRef>
          </c:cat>
          <c:val>
            <c:numRef>
              <c:f>Munka1!$B$240:$B$246</c:f>
              <c:numCache>
                <c:formatCode>#,##0.0</c:formatCode>
                <c:ptCount val="7"/>
                <c:pt idx="0">
                  <c:v>15234239.205926001</c:v>
                </c:pt>
                <c:pt idx="1">
                  <c:v>2398228.8091349998</c:v>
                </c:pt>
                <c:pt idx="2">
                  <c:v>1214320.8822879998</c:v>
                </c:pt>
                <c:pt idx="3">
                  <c:v>184780.49417600001</c:v>
                </c:pt>
                <c:pt idx="4">
                  <c:v>517761.36457500007</c:v>
                </c:pt>
                <c:pt idx="5">
                  <c:v>73758.232842999976</c:v>
                </c:pt>
                <c:pt idx="6">
                  <c:v>66956.12128599999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A19B-429D-8EB8-85AE521B3085}"/>
            </c:ext>
          </c:extLst>
        </c:ser>
        <c:dLbls>
          <c:showPercent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77868679931723517"/>
          <c:w val="0.99726962072134939"/>
          <c:h val="0.20927685928192935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1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6248</cdr:x>
      <cdr:y>0.17009</cdr:y>
    </cdr:from>
    <cdr:to>
      <cdr:x>0.96482</cdr:x>
      <cdr:y>0.82499</cdr:y>
    </cdr:to>
    <cdr:cxnSp macro="">
      <cdr:nvCxnSpPr>
        <cdr:cNvPr id="5" name="Egyenes összekötő 4">
          <a:extLst xmlns:a="http://schemas.openxmlformats.org/drawingml/2006/main">
            <a:ext uri="{FF2B5EF4-FFF2-40B4-BE49-F238E27FC236}">
              <a16:creationId xmlns="" xmlns:a16="http://schemas.microsoft.com/office/drawing/2014/main" id="{1017364D-E9F3-45DA-9EFD-ED87E81EC858}"/>
            </a:ext>
          </a:extLst>
        </cdr:cNvPr>
        <cdr:cNvCxnSpPr/>
      </cdr:nvCxnSpPr>
      <cdr:spPr>
        <a:xfrm xmlns:a="http://schemas.openxmlformats.org/drawingml/2006/main" flipV="1">
          <a:off x="6661973" y="666984"/>
          <a:ext cx="16165" cy="2568076"/>
        </a:xfrm>
        <a:prstGeom xmlns:a="http://schemas.openxmlformats.org/drawingml/2006/main" prst="line">
          <a:avLst/>
        </a:prstGeom>
        <a:ln xmlns:a="http://schemas.openxmlformats.org/drawingml/2006/main" w="3175">
          <a:solidFill>
            <a:schemeClr val="tx1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799" cy="499012"/>
          </a:xfrm>
          <a:prstGeom prst="rect">
            <a:avLst/>
          </a:prstGeom>
        </p:spPr>
        <p:txBody>
          <a:bodyPr vert="horz" lIns="92167" tIns="46084" rIns="92167" bIns="46084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5" y="0"/>
            <a:ext cx="2971799" cy="499012"/>
          </a:xfrm>
          <a:prstGeom prst="rect">
            <a:avLst/>
          </a:prstGeom>
        </p:spPr>
        <p:txBody>
          <a:bodyPr vert="horz" lIns="92167" tIns="46084" rIns="92167" bIns="46084" rtlCol="0"/>
          <a:lstStyle>
            <a:lvl1pPr algn="r">
              <a:defRPr sz="1200"/>
            </a:lvl1pPr>
          </a:lstStyle>
          <a:p>
            <a:fld id="{A0CC3D57-735D-4622-9868-6C55E9768060}" type="datetimeFigureOut">
              <a:rPr lang="hu-HU" smtClean="0"/>
              <a:pPr/>
              <a:t>2019.05.21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1192213" y="1243013"/>
            <a:ext cx="4473575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67" tIns="46084" rIns="92167" bIns="46084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1" y="4786363"/>
            <a:ext cx="5486400" cy="3916115"/>
          </a:xfrm>
          <a:prstGeom prst="rect">
            <a:avLst/>
          </a:prstGeom>
        </p:spPr>
        <p:txBody>
          <a:bodyPr vert="horz" lIns="92167" tIns="46084" rIns="92167" bIns="46084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1" y="9446678"/>
            <a:ext cx="2971799" cy="499011"/>
          </a:xfrm>
          <a:prstGeom prst="rect">
            <a:avLst/>
          </a:prstGeom>
        </p:spPr>
        <p:txBody>
          <a:bodyPr vert="horz" lIns="92167" tIns="46084" rIns="92167" bIns="46084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5" y="9446678"/>
            <a:ext cx="2971799" cy="499011"/>
          </a:xfrm>
          <a:prstGeom prst="rect">
            <a:avLst/>
          </a:prstGeom>
        </p:spPr>
        <p:txBody>
          <a:bodyPr vert="horz" lIns="92167" tIns="46084" rIns="92167" bIns="46084" rtlCol="0" anchor="b"/>
          <a:lstStyle>
            <a:lvl1pPr algn="r">
              <a:defRPr sz="1200"/>
            </a:lvl1pPr>
          </a:lstStyle>
          <a:p>
            <a:fld id="{A58967F7-1C2E-4E90-ACB5-7517AB67B43C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9695990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Diakép hely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Jegyzetek hely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hu-HU" altLang="hu-HU"/>
              <a:t>2002 és 2010 között a gazdasági növekedési eredmények a nagymértékű külső forrásbevonásnak tulajdoníthatók. </a:t>
            </a:r>
          </a:p>
          <a:p>
            <a:pPr eaLnBrk="1" hangingPunct="1">
              <a:spcBef>
                <a:spcPct val="0"/>
              </a:spcBef>
            </a:pPr>
            <a:r>
              <a:rPr lang="hu-HU" altLang="hu-HU"/>
              <a:t>A külső tényezők között jelentős helyet foglalnak el a külső finanszírozási feltételek. </a:t>
            </a:r>
          </a:p>
          <a:p>
            <a:pPr eaLnBrk="1" hangingPunct="1">
              <a:spcBef>
                <a:spcPct val="0"/>
              </a:spcBef>
            </a:pPr>
            <a:r>
              <a:rPr lang="hu-HU" altLang="hu-HU"/>
              <a:t>Ezekre a kormányzati ráhatás csak részleges, mint a forint leértékelődése, ahol közel kétezer milliárdos az utóbbi években a finanszírozási veszteség, a csődkockázati felár, kamatok stb. Ugyanakkor nyilvánvaló, hogy erős kapcsolat van, s közvetlen a kormányzat felelőssége a teljesíthetetlen lakossági várakozások gerjesztése és kényszerű teljesítése által növekvő államadósság kérdésében. Nyilvánvaló kapcsolat van a lakossági-vállalkozói várakozások, az aktuális kormány támogatottsága adta mozgástér és az adósságnövekedés, a kormányzás küldetésfelfogása között: működnie kell a stabilitás és növekedés felelősség kettősének.</a:t>
            </a:r>
          </a:p>
          <a:p>
            <a:pPr eaLnBrk="1" hangingPunct="1">
              <a:spcBef>
                <a:spcPct val="0"/>
              </a:spcBef>
            </a:pPr>
            <a:endParaRPr lang="hu-HU" altLang="hu-HU"/>
          </a:p>
          <a:p>
            <a:pPr eaLnBrk="1" hangingPunct="1">
              <a:spcBef>
                <a:spcPct val="0"/>
              </a:spcBef>
            </a:pPr>
            <a:r>
              <a:rPr lang="hu-HU" altLang="hu-HU"/>
              <a:t>Ami 2015-re tartozik:</a:t>
            </a:r>
          </a:p>
          <a:p>
            <a:pPr eaLnBrk="1" hangingPunct="1">
              <a:spcBef>
                <a:spcPct val="0"/>
              </a:spcBef>
            </a:pPr>
            <a:r>
              <a:rPr lang="hu-HU" altLang="hu-HU"/>
              <a:t>A jelentős, egyébként más szempontból igen pozitív forintkibocsátás mellett további két tényező van a jelentős első félévi adósság-arány növekedésben, amit az év végére le kell a mérőnapig dolgoznunk. Az egyik, hogy év vége óta nagyot erősödött az euró ellenében az USA-dollár. Ez az ÁKK EURUSD swap-jain keresztül a növeli az államadósságot, az első félévben konkrétan 390 milliárd forint értékben nőtt emiatt az államadósság.</a:t>
            </a:r>
          </a:p>
          <a:p>
            <a:pPr eaLnBrk="1" hangingPunct="1">
              <a:spcBef>
                <a:spcPct val="0"/>
              </a:spcBef>
            </a:pPr>
            <a:r>
              <a:rPr lang="hu-HU" altLang="hu-HU"/>
              <a:t>A másik tényező egy új dolog. A Budapest Bank megvásárlása a statisztikában teljes egészében államadósságot növelő tétel lett. Ez 195 milliárd forint, ami a GDP 0,6%-a, de ennyivel nőtt a magyar állam kezében lévő vagyon is</a:t>
            </a:r>
          </a:p>
          <a:p>
            <a:pPr eaLnBrk="1" hangingPunct="1">
              <a:spcBef>
                <a:spcPct val="0"/>
              </a:spcBef>
            </a:pPr>
            <a:r>
              <a:rPr lang="hu-HU" altLang="hu-HU"/>
              <a:t>Az ÁKK eddig azt jelentette be, hogy az adósságnövekedés ellensúlyozására 1,2 milliárd euró értékben visszavesz jövőre és azután lejáró adósságelemeket.</a:t>
            </a:r>
          </a:p>
          <a:p>
            <a:pPr eaLnBrk="1" hangingPunct="1">
              <a:spcBef>
                <a:spcPct val="0"/>
              </a:spcBef>
            </a:pPr>
            <a:r>
              <a:rPr lang="hu-HU" altLang="hu-HU"/>
              <a:t>Ez azonban nem zárható ki, hogy kevés lesz, nem zárható ki, hogy efelett még további 400 milliárd forint értékben kellene valamit csinálni. </a:t>
            </a:r>
          </a:p>
          <a:p>
            <a:pPr eaLnBrk="1" hangingPunct="1">
              <a:spcBef>
                <a:spcPct val="0"/>
              </a:spcBef>
            </a:pPr>
            <a:r>
              <a:rPr lang="hu-HU" altLang="hu-HU"/>
              <a:t>Az erősebb forint vagy a gyengébb dollár meg tudna oldani ebből a 400 milliárd forintból valamennyit, de ez bizonytalan és a külső körülményektől függ.</a:t>
            </a:r>
          </a:p>
          <a:p>
            <a:pPr eaLnBrk="1" hangingPunct="1">
              <a:spcBef>
                <a:spcPct val="0"/>
              </a:spcBef>
            </a:pPr>
            <a:r>
              <a:rPr lang="hu-HU" altLang="hu-HU"/>
              <a:t>Az első félévi eredmények alapján nyilván, hogy még dolgozniuk kell ahhoz, hogy csökkenjen az államadósság az év végén. Nem lesz könnyű, de ma még megoldható.</a:t>
            </a:r>
          </a:p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4100" name="Dia számának hely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8857" indent="-28802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52088" indent="-23041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12922" indent="-23041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73757" indent="-23041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34592" indent="-23041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95427" indent="-23041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56262" indent="-23041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917097" indent="-23041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BAC7E8F-7A65-4E5D-9F15-4D925A68364A}" type="slidenum">
              <a:rPr lang="hu-HU" altLang="hu-HU" smtClean="0">
                <a:solidFill>
                  <a:srgbClr val="000000"/>
                </a:solidFill>
                <a:latin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hu-HU" altLang="hu-HU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716021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 vállalati hitelezés a</a:t>
            </a:r>
            <a:r>
              <a:rPr lang="hu-HU" baseline="0" dirty="0"/>
              <a:t> kilábalással együtt megindult a régióban és Magyarországon is, itthon az NHP is támogatta</a:t>
            </a:r>
          </a:p>
          <a:p>
            <a:r>
              <a:rPr lang="hu-HU" baseline="0" dirty="0"/>
              <a:t>A lakossági hitelállományt nálunk a háztartások adósságleépítése mellett intézményi változások (végtörlesztés, devizahiteles elszámolás) is csökkentették az elmúlt években</a:t>
            </a:r>
          </a:p>
          <a:p>
            <a:endParaRPr lang="hu-HU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43483C-3CE1-41CC-8D2E-4E8D0CF14325}" type="slidenum">
              <a:rPr lang="hu-HU" smtClean="0"/>
              <a:pPr/>
              <a:t>17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29579794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8967F7-1C2E-4E90-ACB5-7517AB67B43C}" type="slidenum">
              <a:rPr lang="hu-HU" smtClean="0"/>
              <a:pPr/>
              <a:t>3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38186494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Diakép hely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Jegyzetek hely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5124" name="Dia számának hely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707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51940" indent="-289208" defTabSz="92707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56830" indent="-231366" defTabSz="92707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19562" indent="-231366" defTabSz="92707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82295" indent="-231366" defTabSz="92707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45027" indent="-231366" defTabSz="92707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007759" indent="-231366" defTabSz="92707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70491" indent="-231366" defTabSz="92707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933223" indent="-231366" defTabSz="92707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D4AC690C-CB84-4220-B4A6-1521F1A231E3}" type="slidenum">
              <a:rPr lang="hu-HU" altLang="hu-HU">
                <a:latin typeface="Times New Roman" panose="02020603050405020304" pitchFamily="18" charset="0"/>
              </a:rPr>
              <a:pPr/>
              <a:t>6</a:t>
            </a:fld>
            <a:endParaRPr lang="hu-HU" altLang="hu-HU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124093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8967F7-1C2E-4E90-ACB5-7517AB67B43C}" type="slidenum">
              <a:rPr lang="hu-HU" smtClean="0"/>
              <a:pPr/>
              <a:t>9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10017781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EC </a:t>
            </a:r>
            <a:r>
              <a:rPr lang="hu-HU"/>
              <a:t>adatai frissítve 2019.05.08.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8967F7-1C2E-4E90-ACB5-7517AB67B43C}" type="slidenum">
              <a:rPr lang="hu-HU" smtClean="0"/>
              <a:pPr/>
              <a:t>10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55137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Diakép hely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3315" name="Jegyzetek hely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hu-HU" altLang="hu-HU" dirty="0"/>
          </a:p>
        </p:txBody>
      </p:sp>
      <p:sp>
        <p:nvSpPr>
          <p:cNvPr id="13316" name="Dia számának hely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5786" indent="-28684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7364" indent="-22947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6309" indent="-22947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65255" indent="-22947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24200" indent="-22947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83147" indent="-22947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42091" indent="-22947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901037" indent="-22947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948DCF8-A2A2-4AE4-B040-C59FFE1E6BE5}" type="slidenum">
              <a:rPr lang="hu-HU" altLang="hu-H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hu-HU" altLang="hu-HU"/>
          </a:p>
        </p:txBody>
      </p:sp>
    </p:spTree>
    <p:extLst>
      <p:ext uri="{BB962C8B-B14F-4D97-AF65-F5344CB8AC3E}">
        <p14:creationId xmlns:p14="http://schemas.microsoft.com/office/powerpoint/2010/main" xmlns="" val="18768712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43483C-3CE1-41CC-8D2E-4E8D0CF14325}" type="slidenum">
              <a:rPr lang="hu-HU" smtClean="0"/>
              <a:pPr/>
              <a:t>13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19697131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 kilábalás első szakaszát (2014) az ipar (és az export) vezérelte az egész </a:t>
            </a:r>
            <a:r>
              <a:rPr lang="hu-HU" dirty="0" err="1"/>
              <a:t>eurozónában</a:t>
            </a:r>
            <a:r>
              <a:rPr lang="hu-HU" dirty="0"/>
              <a:t> és a KKE régióban is.</a:t>
            </a:r>
            <a:r>
              <a:rPr lang="hu-HU" baseline="0" dirty="0"/>
              <a:t> Emellett a KKE országokban az építőipar is felpörgött az EU-s forrásoknak köszönhetően</a:t>
            </a:r>
          </a:p>
          <a:p>
            <a:r>
              <a:rPr lang="hu-HU" baseline="0" dirty="0"/>
              <a:t>2015-től fokozatosan élénkül a belső kereslet, ennek köszönhetően gyorsul a piaci szolgáltatások növekedése. Ezzel szemben az ipar dinamikája stabilizálódott</a:t>
            </a:r>
          </a:p>
          <a:p>
            <a:r>
              <a:rPr lang="hu-HU" baseline="0" dirty="0"/>
              <a:t>Magyarország a régióhoz képest: az ipar 2014-15-ben lóg ki felfelé az új autóipari kapacitásoknak köszönhetően, azóta a régiós mezőnnyel és az </a:t>
            </a:r>
            <a:r>
              <a:rPr lang="hu-HU" baseline="0" dirty="0" err="1"/>
              <a:t>eurozónával</a:t>
            </a:r>
            <a:r>
              <a:rPr lang="hu-HU" baseline="0" dirty="0"/>
              <a:t> együtt haladunk; az építőipar ciklusai sokkal szélsőségesebbek (EU források felhasználása); a szolgáltató szektor a régióban közepesnek mondható, az </a:t>
            </a:r>
            <a:r>
              <a:rPr lang="hu-HU" baseline="0" dirty="0" err="1"/>
              <a:t>eurozónánál</a:t>
            </a:r>
            <a:r>
              <a:rPr lang="hu-HU" baseline="0" dirty="0"/>
              <a:t> gyorsabban bővül</a:t>
            </a:r>
          </a:p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43483C-3CE1-41CC-8D2E-4E8D0CF14325}" type="slidenum">
              <a:rPr lang="hu-HU" smtClean="0"/>
              <a:pPr/>
              <a:t>1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32729356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 fogyasztás dinamikája az egész régióban élénkül, Magyarország</a:t>
            </a:r>
            <a:r>
              <a:rPr lang="hu-HU" baseline="0" dirty="0"/>
              <a:t> 2016-17-ben a mezőny második felében</a:t>
            </a:r>
          </a:p>
          <a:p>
            <a:r>
              <a:rPr lang="hu-HU" baseline="0" dirty="0"/>
              <a:t>A beruházások az </a:t>
            </a:r>
            <a:r>
              <a:rPr lang="hu-HU" baseline="0" dirty="0" err="1"/>
              <a:t>eurozónában</a:t>
            </a:r>
            <a:r>
              <a:rPr lang="hu-HU" baseline="0" dirty="0"/>
              <a:t> túljutottak a ciklikus mélyponton, a régió országaiban az EU források beáramlása miatt már 2015-ben növekedés volt jellemző. Magyarországon különösen erős volt az EU források miatti hullámzás, de a nemzetgazdasági beruházási ráta változatlanul az egyik legalacsonyabb az egész régióban</a:t>
            </a:r>
          </a:p>
          <a:p>
            <a:r>
              <a:rPr lang="hu-HU" baseline="0" dirty="0"/>
              <a:t>A külkereskedelmi egyenleg ugyanakkor Magyarországon a legmagasabb. A fogyasztás és a beruházások élénkülésével nő az importkereslet, ami 2016 óta már enyhén csökkenti a külkereskedelmi többletet</a:t>
            </a:r>
          </a:p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43483C-3CE1-41CC-8D2E-4E8D0CF14325}" type="slidenum">
              <a:rPr lang="hu-HU" smtClean="0"/>
              <a:pPr/>
              <a:t>15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15487846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hu-HU"/>
              <a:t>Alcím mintájának szerkesztése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D92D59-D867-40D5-AAD5-351B97D8C6C5}" type="datetime1">
              <a:rPr lang="hu-HU" smtClean="0"/>
              <a:pPr/>
              <a:t>2019.05.21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3DC5-9A08-45DE-8E1B-6A7050465108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69059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99BE9B-B977-423D-B4FE-1CA6D32DB6F6}" type="datetime1">
              <a:rPr lang="hu-HU" smtClean="0"/>
              <a:pPr/>
              <a:t>2019.05.21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3DC5-9A08-45DE-8E1B-6A7050465108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37606728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4F0D9-3942-4128-B593-89361C7D4968}" type="datetime1">
              <a:rPr lang="hu-HU" smtClean="0"/>
              <a:pPr/>
              <a:t>2019.05.21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3DC5-9A08-45DE-8E1B-6A7050465108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28805395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6C14B9-2E24-4834-80B9-EBD281F73FED}" type="datetime1">
              <a:rPr lang="hu-HU" smtClean="0"/>
              <a:pPr/>
              <a:t>2019.05.21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3DC5-9A08-45DE-8E1B-6A7050465108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18515726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C27997-FCD1-49F1-91BA-93ED628F1B99}" type="datetime1">
              <a:rPr lang="hu-HU" smtClean="0"/>
              <a:pPr/>
              <a:t>2019.05.21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3DC5-9A08-45DE-8E1B-6A7050465108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25494042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6C3D5E-0BA5-486B-8DF9-4C435B423385}" type="datetime1">
              <a:rPr lang="hu-HU" smtClean="0"/>
              <a:pPr/>
              <a:t>2019.05.21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3DC5-9A08-45DE-8E1B-6A7050465108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36844366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7" name="Dátum hely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51E99-E793-422C-8E4B-753D267B285D}" type="datetime1">
              <a:rPr lang="hu-HU" smtClean="0"/>
              <a:pPr/>
              <a:t>2019.05.21.</a:t>
            </a:fld>
            <a:endParaRPr lang="hu-HU"/>
          </a:p>
        </p:txBody>
      </p:sp>
      <p:sp>
        <p:nvSpPr>
          <p:cNvPr id="8" name="Élőláb hely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3DC5-9A08-45DE-8E1B-6A7050465108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17704664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A42236-DAC0-4CC2-98E9-AC89DA05B782}" type="datetime1">
              <a:rPr lang="hu-HU" smtClean="0"/>
              <a:pPr/>
              <a:t>2019.05.21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3DC5-9A08-45DE-8E1B-6A7050465108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13398930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3D46F8-1C12-4E0D-93F6-9095D480C5AD}" type="datetime1">
              <a:rPr lang="hu-HU" smtClean="0"/>
              <a:pPr/>
              <a:t>2019.05.21.</a:t>
            </a:fld>
            <a:endParaRPr lang="hu-HU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3DC5-9A08-45DE-8E1B-6A7050465108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7881858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5BA588-BBA5-4924-B2F6-A70C0F2070B7}" type="datetime1">
              <a:rPr lang="hu-HU" smtClean="0"/>
              <a:pPr/>
              <a:t>2019.05.21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3DC5-9A08-45DE-8E1B-6A7050465108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3573932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EE0744-0D10-4BCD-8F43-9888E0A7380D}" type="datetime1">
              <a:rPr lang="hu-HU" smtClean="0"/>
              <a:pPr/>
              <a:t>2019.05.21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3DC5-9A08-45DE-8E1B-6A7050465108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28211408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>
                <a:tint val="90000"/>
                <a:lumMod val="110000"/>
              </a:schemeClr>
            </a:gs>
            <a:gs pos="100000">
              <a:schemeClr val="bg1">
                <a:shade val="64000"/>
                <a:lumMod val="88000"/>
              </a:schemeClr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D73F5F-EC1C-4218-AA10-0A907D1FF607}" type="datetime1">
              <a:rPr lang="hu-HU" smtClean="0"/>
              <a:pPr/>
              <a:t>2019.05.21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193DC5-9A08-45DE-8E1B-6A7050465108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882002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hf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oogle.hu/url?sa=i&amp;rct=j&amp;q=&amp;source=imgres&amp;cd=&amp;cad=rja&amp;uact=8&amp;ved=0ahUKEwjt4cvN7sDPAhUE1iwKHcwhCXEQjRwIBw&amp;url=https://hu.wikipedia.org/wiki/Jap%C3%A1n_z%C3%A1szlaja&amp;psig=AFQjCNEDeJl8Ylj7_0DSObjGaukoCElE7A&amp;ust=1475660694170238" TargetMode="External"/><Relationship Id="rId13" Type="http://schemas.openxmlformats.org/officeDocument/2006/relationships/image" Target="../media/image2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21.png"/><Relationship Id="rId12" Type="http://schemas.openxmlformats.org/officeDocument/2006/relationships/image" Target="../media/image24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0.png"/><Relationship Id="rId11" Type="http://schemas.openxmlformats.org/officeDocument/2006/relationships/image" Target="../media/image23.png"/><Relationship Id="rId5" Type="http://schemas.openxmlformats.org/officeDocument/2006/relationships/image" Target="../media/image19.png"/><Relationship Id="rId10" Type="http://schemas.openxmlformats.org/officeDocument/2006/relationships/hyperlink" Target="http://www.google.hu/url?sa=i&amp;rct=j&amp;q=&amp;source=imgres&amp;cd=&amp;cad=rja&amp;uact=8&amp;ved=0ahUKEwiVut3d7sDPAhXJfywKHeWaBW0QjRwIBw&amp;url=https://hu.wikipedia.org/wiki/K%C3%ADna_z%C3%A1szlaja&amp;psig=AFQjCNEGxlhoA6YLI7Skl9LUgV6pcDZ1YA&amp;ust=1475660728342818" TargetMode="External"/><Relationship Id="rId4" Type="http://schemas.openxmlformats.org/officeDocument/2006/relationships/hyperlink" Target="http://www.google.hu/url?sa=i&amp;rct=j&amp;q=&amp;source=imgres&amp;cd=&amp;cad=rja&amp;uact=8&amp;ved=0ahUKEwiSscj57cDPAhXC1RQKHWCkBUsQjRwIBw&amp;url=http://www.nemzetizaszlok.hu/portugalia&amp;psig=AFQjCNEl7cEZFebi0N0CTBjKNldxMPl1Qg&amp;ust=1475660516458886" TargetMode="External"/><Relationship Id="rId9" Type="http://schemas.openxmlformats.org/officeDocument/2006/relationships/image" Target="../media/image22.png"/><Relationship Id="rId14" Type="http://schemas.openxmlformats.org/officeDocument/2006/relationships/image" Target="../media/image26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jpeg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266330" y="1979720"/>
            <a:ext cx="8593585" cy="2032987"/>
          </a:xfrm>
        </p:spPr>
        <p:txBody>
          <a:bodyPr>
            <a:normAutofit fontScale="90000"/>
          </a:bodyPr>
          <a:lstStyle/>
          <a:p>
            <a:r>
              <a:rPr lang="hu-HU" sz="31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31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31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31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31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31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31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31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3100" b="1" cap="all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ZÉP EURÓPA ÉS MAGYARORSZÁG HELYZETE ÉS NÉHÁNY STRATÉGIAI FELADATA A PÁNEURÓPAI PIKNIK UTÁN 30 ÉVVEL</a:t>
            </a:r>
            <a:r>
              <a:rPr lang="hu-HU" sz="3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3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3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3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sz="2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143000" y="4527394"/>
            <a:ext cx="6858000" cy="1587655"/>
          </a:xfrm>
        </p:spPr>
        <p:txBody>
          <a:bodyPr>
            <a:normAutofit/>
          </a:bodyPr>
          <a:lstStyle/>
          <a:p>
            <a:r>
              <a:rPr lang="hu-H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YAR VILÁGTALÁLKOZÓ</a:t>
            </a:r>
          </a:p>
          <a:p>
            <a:r>
              <a:rPr lang="hu-H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. május 16.</a:t>
            </a:r>
          </a:p>
          <a:p>
            <a:endParaRPr lang="hu-H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églalap 1"/>
          <p:cNvSpPr>
            <a:spLocks noChangeArrowheads="1"/>
          </p:cNvSpPr>
          <p:nvPr/>
        </p:nvSpPr>
        <p:spPr bwMode="auto">
          <a:xfrm>
            <a:off x="424638" y="385687"/>
            <a:ext cx="2900284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en-US" sz="1600" b="1" dirty="0">
                <a:solidFill>
                  <a:srgbClr val="000076"/>
                </a:solidFill>
                <a:latin typeface="Calibri" panose="020F0502020204030204" pitchFamily="34" charset="0"/>
              </a:rPr>
              <a:t>KOVÁCS ÁRPÁD </a:t>
            </a:r>
            <a:r>
              <a:rPr lang="hu-HU" altLang="en-US" sz="1200" b="1" dirty="0">
                <a:solidFill>
                  <a:srgbClr val="000076"/>
                </a:solidFill>
                <a:latin typeface="Calibri" panose="020F0502020204030204" pitchFamily="34" charset="0"/>
              </a:rPr>
              <a:t>EGYETEMI TANÁR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en-US" sz="1600" b="1" dirty="0">
                <a:solidFill>
                  <a:srgbClr val="000076"/>
                </a:solidFill>
                <a:latin typeface="Calibri" panose="020F0502020204030204" pitchFamily="34" charset="0"/>
              </a:rPr>
              <a:t>SZEGEDI TUDOMÁNYEGYETEM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en-US" sz="1600" b="1" dirty="0">
                <a:solidFill>
                  <a:srgbClr val="000076"/>
                </a:solidFill>
                <a:latin typeface="Calibri" panose="020F0502020204030204" pitchFamily="34" charset="0"/>
              </a:rPr>
              <a:t>KÖLTSÉGVETÉSI TANÁCS</a:t>
            </a:r>
            <a:endParaRPr lang="hu-HU" altLang="en-US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812196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églalap 9"/>
          <p:cNvSpPr>
            <a:spLocks noChangeArrowheads="1"/>
          </p:cNvSpPr>
          <p:nvPr/>
        </p:nvSpPr>
        <p:spPr bwMode="auto">
          <a:xfrm>
            <a:off x="107156" y="1856228"/>
            <a:ext cx="903684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hu-HU" altLang="en-US" sz="18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őbb makrogazdasági mutatók a különböző előrejelzések alapján </a:t>
            </a:r>
            <a:r>
              <a:rPr lang="hu-HU" altLang="en-US" sz="18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hu-HU" altLang="en-US" sz="135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%-ban)</a:t>
            </a:r>
          </a:p>
        </p:txBody>
      </p:sp>
      <p:sp>
        <p:nvSpPr>
          <p:cNvPr id="2051" name="Text Box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150" y="6578884"/>
            <a:ext cx="8929688" cy="221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438" tIns="34219" rIns="68438" bIns="34219">
            <a:spAutoFit/>
          </a:bodyPr>
          <a:lstStyle>
            <a:lvl1pPr defTabSz="9128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None/>
            </a:pPr>
            <a:r>
              <a:rPr lang="hu-HU" alt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rás: </a:t>
            </a:r>
            <a:r>
              <a:rPr lang="hu-HU" altLang="hu-HU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yarország Konvergencia Programja 2019-2023</a:t>
            </a:r>
            <a:r>
              <a:rPr lang="hu-HU" alt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OECD 2018 ősz, EC 2019 tavasz, KT Titkársága</a:t>
            </a:r>
            <a:endParaRPr lang="en-US" altLang="en-US" sz="11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Group 45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581776973"/>
              </p:ext>
            </p:extLst>
          </p:nvPr>
        </p:nvGraphicFramePr>
        <p:xfrm>
          <a:off x="159544" y="2306843"/>
          <a:ext cx="8827293" cy="2105504"/>
        </p:xfrm>
        <a:graphic>
          <a:graphicData uri="http://schemas.openxmlformats.org/drawingml/2006/table">
            <a:tbl>
              <a:tblPr/>
              <a:tblGrid>
                <a:gridCol w="311785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6614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6614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2518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25182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4299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918252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565718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499821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</a:tblGrid>
              <a:tr h="274280">
                <a:tc row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gnevezés</a:t>
                      </a:r>
                      <a:endParaRPr kumimoji="0" lang="hu-HU" altLang="hu-H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8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</a:t>
                      </a:r>
                      <a:endParaRPr kumimoji="0" lang="hu-HU" altLang="hu-H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99285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ormány</a:t>
                      </a:r>
                      <a:endParaRPr kumimoji="0" lang="hu-HU" altLang="hu-H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zázadvég</a:t>
                      </a:r>
                      <a:endParaRPr kumimoji="0" lang="hu-HU" altLang="hu-H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opint-Tárki</a:t>
                      </a:r>
                      <a:endParaRPr kumimoji="0" lang="hu-HU" altLang="hu-H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CE-GTEK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„A” Üzleti szereplő</a:t>
                      </a:r>
                      <a:endParaRPr kumimoji="0" lang="hu-HU" altLang="hu-H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„B” Üzleti szereplő</a:t>
                      </a:r>
                      <a:endParaRPr kumimoji="0" lang="hu-HU" altLang="hu-H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ECD</a:t>
                      </a:r>
                      <a:endParaRPr kumimoji="0" lang="hu-HU" altLang="hu-HU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C</a:t>
                      </a:r>
                      <a:endParaRPr kumimoji="0" lang="hu-HU" altLang="hu-HU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2856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GDP volumen növekedése</a:t>
                      </a:r>
                      <a:endParaRPr kumimoji="0" lang="hu-HU" altLang="hu-H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9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7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9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7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2856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u-HU" altLang="hu-H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 Háztartások fogyasztása (</a:t>
                      </a:r>
                      <a:r>
                        <a:rPr kumimoji="0" lang="hu-HU" altLang="hu-HU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l</a:t>
                      </a:r>
                      <a:r>
                        <a:rPr kumimoji="0" lang="hu-HU" altLang="hu-H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kumimoji="0" lang="hu-HU" altLang="hu-HU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öv</a:t>
                      </a:r>
                      <a:r>
                        <a:rPr kumimoji="0" lang="hu-HU" altLang="hu-H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)</a:t>
                      </a:r>
                      <a:endParaRPr kumimoji="0" lang="hu-HU" altLang="hu-H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6</a:t>
                      </a: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9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9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2856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u-HU" altLang="hu-H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 Közösségi fogyasztás (</a:t>
                      </a:r>
                      <a:r>
                        <a:rPr kumimoji="0" lang="hu-HU" altLang="hu-HU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l</a:t>
                      </a:r>
                      <a:r>
                        <a:rPr kumimoji="0" lang="hu-HU" altLang="hu-H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kumimoji="0" lang="hu-HU" altLang="hu-HU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öv</a:t>
                      </a:r>
                      <a:r>
                        <a:rPr kumimoji="0" lang="hu-HU" altLang="hu-H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)</a:t>
                      </a:r>
                      <a:endParaRPr kumimoji="0" lang="hu-HU" altLang="hu-H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</a:t>
                      </a:r>
                      <a:r>
                        <a:rPr kumimoji="0" lang="hu-HU" altLang="hu-HU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kumimoji="0" lang="hu-HU" altLang="hu-HU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</a:t>
                      </a:r>
                      <a:r>
                        <a:rPr kumimoji="0" lang="hu-HU" altLang="hu-HU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kumimoji="0" lang="hu-HU" altLang="hu-HU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</a:t>
                      </a:r>
                      <a:r>
                        <a:rPr kumimoji="0" lang="hu-HU" altLang="hu-HU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kumimoji="0" lang="hu-HU" altLang="hu-HU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2856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 Bruttó állóeszköz-felhalmozás (</a:t>
                      </a:r>
                      <a:r>
                        <a:rPr kumimoji="0" lang="hu-HU" altLang="hu-HU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l</a:t>
                      </a:r>
                      <a:r>
                        <a:rPr kumimoji="0" lang="hu-HU" altLang="hu-H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kumimoji="0" lang="hu-HU" altLang="hu-HU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öv</a:t>
                      </a:r>
                      <a:r>
                        <a:rPr kumimoji="0" lang="hu-HU" altLang="hu-H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)</a:t>
                      </a:r>
                      <a:endParaRPr kumimoji="0" lang="hu-HU" altLang="hu-H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3</a:t>
                      </a: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,8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0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5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,8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2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,5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4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2856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 Fogyasztói árindex (éves átlag)</a:t>
                      </a:r>
                      <a:endParaRPr kumimoji="0" lang="hu-HU" altLang="hu-H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1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5412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 Államháztartás egyenlege (ESA2010)</a:t>
                      </a:r>
                      <a:endParaRPr kumimoji="0" lang="hu-HU" altLang="hu-H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8</a:t>
                      </a: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7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4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1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8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8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0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,8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6" name="Group 45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884299610"/>
              </p:ext>
            </p:extLst>
          </p:nvPr>
        </p:nvGraphicFramePr>
        <p:xfrm>
          <a:off x="159544" y="4417430"/>
          <a:ext cx="8827293" cy="2105505"/>
        </p:xfrm>
        <a:graphic>
          <a:graphicData uri="http://schemas.openxmlformats.org/drawingml/2006/table">
            <a:tbl>
              <a:tblPr/>
              <a:tblGrid>
                <a:gridCol w="311785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6614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6614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2518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25182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4299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918252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565718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499821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</a:tblGrid>
              <a:tr h="274280">
                <a:tc row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gnevezés</a:t>
                      </a:r>
                      <a:endParaRPr kumimoji="0" lang="hu-HU" altLang="hu-H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8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</a:t>
                      </a:r>
                      <a:endParaRPr kumimoji="0" lang="hu-HU" altLang="hu-H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99285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ormány</a:t>
                      </a:r>
                      <a:endParaRPr kumimoji="0" lang="hu-HU" altLang="hu-H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zázadvég</a:t>
                      </a:r>
                      <a:endParaRPr kumimoji="0" lang="hu-HU" altLang="hu-H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opint-Tárki</a:t>
                      </a:r>
                      <a:endParaRPr kumimoji="0" lang="hu-HU" altLang="hu-H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u-HU" altLang="hu-HU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CE-GTEK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„A” Üzleti szereplő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„B” Üzleti szereplő</a:t>
                      </a:r>
                      <a:endParaRPr kumimoji="0" lang="hu-HU" altLang="hu-H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ECD</a:t>
                      </a:r>
                      <a:endParaRPr kumimoji="0" lang="hu-HU" altLang="hu-HU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C</a:t>
                      </a:r>
                      <a:endParaRPr kumimoji="0" lang="hu-HU" altLang="hu-HU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2856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GDP volumen növekedése</a:t>
                      </a:r>
                      <a:endParaRPr kumimoji="0" lang="hu-HU" altLang="hu-H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5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1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8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</a:t>
                      </a:r>
                      <a:r>
                        <a:rPr kumimoji="0" lang="hu-HU" altLang="hu-HU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endParaRPr kumimoji="0" lang="hu-HU" altLang="hu-HU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8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2856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u-HU" altLang="hu-H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 Háztartások fogyasztása (</a:t>
                      </a:r>
                      <a:r>
                        <a:rPr kumimoji="0" lang="hu-HU" altLang="hu-HU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l</a:t>
                      </a:r>
                      <a:r>
                        <a:rPr kumimoji="0" lang="hu-HU" altLang="hu-H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kumimoji="0" lang="hu-HU" altLang="hu-HU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öv</a:t>
                      </a:r>
                      <a:r>
                        <a:rPr kumimoji="0" lang="hu-HU" altLang="hu-H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)</a:t>
                      </a:r>
                      <a:endParaRPr kumimoji="0" lang="hu-HU" altLang="hu-H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0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8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</a:t>
                      </a:r>
                      <a:r>
                        <a:rPr kumimoji="0" lang="hu-HU" altLang="hu-HU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endParaRPr kumimoji="0" lang="hu-HU" altLang="hu-HU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8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2856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u-HU" altLang="hu-H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 Közösségi fogyasztás (</a:t>
                      </a:r>
                      <a:r>
                        <a:rPr kumimoji="0" lang="hu-HU" altLang="hu-HU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l</a:t>
                      </a:r>
                      <a:r>
                        <a:rPr kumimoji="0" lang="hu-HU" altLang="hu-H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kumimoji="0" lang="hu-HU" altLang="hu-HU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öv</a:t>
                      </a:r>
                      <a:r>
                        <a:rPr kumimoji="0" lang="hu-HU" altLang="hu-H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)</a:t>
                      </a:r>
                      <a:endParaRPr kumimoji="0" lang="hu-HU" altLang="hu-H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</a:t>
                      </a:r>
                      <a:r>
                        <a:rPr kumimoji="0" lang="hu-HU" altLang="hu-HU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kumimoji="0" lang="hu-HU" altLang="hu-HU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</a:t>
                      </a:r>
                      <a:r>
                        <a:rPr kumimoji="0" lang="hu-HU" altLang="hu-HU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kumimoji="0" lang="hu-HU" altLang="hu-HU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2856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u-HU" altLang="hu-H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 Bruttó állóeszköz-felhalmozás (</a:t>
                      </a:r>
                      <a:r>
                        <a:rPr kumimoji="0" lang="hu-HU" altLang="hu-HU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l</a:t>
                      </a:r>
                      <a:r>
                        <a:rPr kumimoji="0" lang="hu-HU" altLang="hu-H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kumimoji="0" lang="hu-HU" altLang="hu-HU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öv</a:t>
                      </a:r>
                      <a:r>
                        <a:rPr kumimoji="0" lang="hu-HU" altLang="hu-H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)</a:t>
                      </a:r>
                      <a:endParaRPr kumimoji="0" lang="hu-HU" altLang="hu-H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8</a:t>
                      </a: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9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0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5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,2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8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2856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 Fogyasztói árindex (éves átlag)</a:t>
                      </a:r>
                      <a:endParaRPr kumimoji="0" lang="hu-HU" altLang="hu-H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8</a:t>
                      </a: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1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1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5412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 Államháztartás egyenlege (ESA2010)</a:t>
                      </a:r>
                      <a:endParaRPr kumimoji="0" lang="hu-HU" altLang="hu-H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5</a:t>
                      </a:r>
                    </a:p>
                  </a:txBody>
                  <a:tcPr marL="68577" marR="68577" marT="34270" marB="34270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3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0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9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8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5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0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,6</a:t>
                      </a:r>
                    </a:p>
                  </a:txBody>
                  <a:tcPr marL="68577" marR="68577" marT="34270" marB="3427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2" name="Szövegdoboz 1"/>
          <p:cNvSpPr txBox="1"/>
          <p:nvPr/>
        </p:nvSpPr>
        <p:spPr>
          <a:xfrm>
            <a:off x="164305" y="33047"/>
            <a:ext cx="882253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b="1" dirty="0">
                <a:latin typeface="Arial" panose="020B0604020202020204" pitchFamily="34" charset="0"/>
                <a:cs typeface="Arial" panose="020B0604020202020204" pitchFamily="34" charset="0"/>
              </a:rPr>
              <a:t>A magyar gazdaság és államháztartás 2019. évi főbb mutatói tekintetében a Kormány, valamint a hazai és külföldi előrejelzők között nincs érdemi eltérés</a:t>
            </a:r>
          </a:p>
          <a:p>
            <a:r>
              <a:rPr lang="hu-HU" sz="2400" b="1" dirty="0">
                <a:latin typeface="Arial" panose="020B0604020202020204" pitchFamily="34" charset="0"/>
                <a:cs typeface="Arial" panose="020B0604020202020204" pitchFamily="34" charset="0"/>
              </a:rPr>
              <a:t>A 2020-as mutatóknál már jelentősek a különbségek</a:t>
            </a:r>
          </a:p>
        </p:txBody>
      </p:sp>
    </p:spTree>
    <p:extLst>
      <p:ext uri="{BB962C8B-B14F-4D97-AF65-F5344CB8AC3E}">
        <p14:creationId xmlns:p14="http://schemas.microsoft.com/office/powerpoint/2010/main" xmlns="" val="674709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 7"/>
          <p:cNvGraphicFramePr>
            <a:graphicFrameLocks/>
          </p:cNvGraphicFramePr>
          <p:nvPr>
            <p:extLst/>
          </p:nvPr>
        </p:nvGraphicFramePr>
        <p:xfrm>
          <a:off x="105964" y="1754327"/>
          <a:ext cx="8948825" cy="48843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Szövegdoboz 2"/>
          <p:cNvSpPr txBox="1"/>
          <p:nvPr/>
        </p:nvSpPr>
        <p:spPr>
          <a:xfrm>
            <a:off x="105964" y="0"/>
            <a:ext cx="9143999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hu-H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magyar államháztartás újraelosztása az elmúlt években csökkenő, a GDP 46 százaléka körüli. Ezen belül a </a:t>
            </a:r>
            <a:r>
              <a:rPr lang="hu-HU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matkiadások</a:t>
            </a:r>
            <a:r>
              <a:rPr lang="hu-H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a 2000-es évek elején magasra szökött államadósság finanszírozásának hatalmas terhe miatt – évekig együtt mozogtak az </a:t>
            </a:r>
            <a:r>
              <a:rPr lang="hu-HU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észségügyre</a:t>
            </a:r>
            <a:r>
              <a:rPr lang="hu-H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dított kiadásokkal, sőt 2012 és 2014 között meg is haladták azokat. A kamatkiadások visszaesésével egyidejűleg a </a:t>
            </a:r>
            <a:r>
              <a:rPr lang="hu-HU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zdasági funkciók</a:t>
            </a:r>
            <a:r>
              <a:rPr lang="hu-H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ősödnek.</a:t>
            </a:r>
            <a:endParaRPr lang="hu-HU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91" name="Szövegdoboz 3"/>
          <p:cNvSpPr txBox="1">
            <a:spLocks noChangeArrowheads="1"/>
          </p:cNvSpPr>
          <p:nvPr/>
        </p:nvSpPr>
        <p:spPr bwMode="auto">
          <a:xfrm>
            <a:off x="0" y="6638709"/>
            <a:ext cx="4013597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hu-HU" altLang="hu-HU" sz="1100" i="1" dirty="0">
                <a:latin typeface="Arial" panose="020B0604020202020204" pitchFamily="34" charset="0"/>
                <a:cs typeface="Arial" panose="020B0604020202020204" pitchFamily="34" charset="0"/>
              </a:rPr>
              <a:t>Forrás: PM, KT Titkársága szerkesztés</a:t>
            </a: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/>
              <a:pPr/>
              <a:t>11</a:t>
            </a:fld>
            <a:endParaRPr lang="hu-HU"/>
          </a:p>
        </p:txBody>
      </p:sp>
      <p:sp>
        <p:nvSpPr>
          <p:cNvPr id="4" name="Szövegdoboz 3"/>
          <p:cNvSpPr txBox="1"/>
          <p:nvPr/>
        </p:nvSpPr>
        <p:spPr>
          <a:xfrm>
            <a:off x="3197882" y="6638709"/>
            <a:ext cx="2567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100" dirty="0"/>
              <a:t>* költségvetés</a:t>
            </a:r>
          </a:p>
        </p:txBody>
      </p:sp>
      <p:sp>
        <p:nvSpPr>
          <p:cNvPr id="7" name="Szövegdoboz 6"/>
          <p:cNvSpPr txBox="1"/>
          <p:nvPr/>
        </p:nvSpPr>
        <p:spPr>
          <a:xfrm>
            <a:off x="579533" y="1917962"/>
            <a:ext cx="53975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Az államháztartás konszolidált funkcionális kiadásai (milliárd forintban)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1A5182-0EC4-47BA-A786-40BF313C2775}" type="datetime1">
              <a:rPr lang="hu-HU" smtClean="0"/>
              <a:pPr/>
              <a:t>2019.05.21.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6334808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zövegdoboz 2"/>
          <p:cNvSpPr txBox="1"/>
          <p:nvPr/>
        </p:nvSpPr>
        <p:spPr>
          <a:xfrm>
            <a:off x="1201016" y="1310448"/>
            <a:ext cx="67800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>Hozzájárulás a bruttó hazai termék (GDP) növekedéséhez (százalékpont) </a:t>
            </a:r>
          </a:p>
        </p:txBody>
      </p:sp>
      <p:sp>
        <p:nvSpPr>
          <p:cNvPr id="4" name="Szövegdoboz 3"/>
          <p:cNvSpPr txBox="1"/>
          <p:nvPr/>
        </p:nvSpPr>
        <p:spPr>
          <a:xfrm>
            <a:off x="0" y="6542535"/>
            <a:ext cx="35225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000" i="1" dirty="0">
                <a:latin typeface="Arial" panose="020B0604020202020204" pitchFamily="34" charset="0"/>
                <a:cs typeface="Arial" panose="020B0604020202020204" pitchFamily="34" charset="0"/>
              </a:rPr>
              <a:t>Forrás: KSH, KT Titkársága szerkesztés</a:t>
            </a:r>
          </a:p>
        </p:txBody>
      </p:sp>
      <p:sp>
        <p:nvSpPr>
          <p:cNvPr id="5" name="Szövegdoboz 4"/>
          <p:cNvSpPr txBox="1"/>
          <p:nvPr/>
        </p:nvSpPr>
        <p:spPr>
          <a:xfrm>
            <a:off x="117644" y="0"/>
            <a:ext cx="892838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növekedésünkhöz egyre nagyobb mértékben járulnak hozzá a szolgáltatások. Az ipar szerepe ebben is meghatározó. A mezőgazdaság és az építőipar teljesítménye hullámzó </a:t>
            </a:r>
          </a:p>
        </p:txBody>
      </p:sp>
      <p:graphicFrame>
        <p:nvGraphicFramePr>
          <p:cNvPr id="6" name="Diagram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549924443"/>
              </p:ext>
            </p:extLst>
          </p:nvPr>
        </p:nvGraphicFramePr>
        <p:xfrm>
          <a:off x="117644" y="1956780"/>
          <a:ext cx="8812996" cy="4585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3DC5-9A08-45DE-8E1B-6A7050465108}" type="slidenum">
              <a:rPr lang="hu-HU" smtClean="0"/>
              <a:pPr/>
              <a:t>12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2083768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297" y="185057"/>
            <a:ext cx="8883543" cy="1453491"/>
          </a:xfrm>
        </p:spPr>
        <p:txBody>
          <a:bodyPr>
            <a:noAutofit/>
          </a:bodyPr>
          <a:lstStyle/>
          <a:p>
            <a:r>
              <a:rPr lang="hu-H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egész régióban kitüntetett szerepet játszik a járműipar, Magyarországon a válság óta végrehajtott nagyberuházások emelték a súlyát és a trend folytatódik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09457" y="6249558"/>
            <a:ext cx="2895786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788" dirty="0">
                <a:latin typeface="Arial" panose="020B0604020202020204" pitchFamily="34" charset="0"/>
                <a:cs typeface="Arial" panose="020B0604020202020204" pitchFamily="34" charset="0"/>
              </a:rPr>
              <a:t>Forrás: </a:t>
            </a:r>
            <a:r>
              <a:rPr lang="hu-HU" sz="788" dirty="0" err="1">
                <a:latin typeface="Arial" panose="020B0604020202020204" pitchFamily="34" charset="0"/>
                <a:cs typeface="Arial" panose="020B0604020202020204" pitchFamily="34" charset="0"/>
              </a:rPr>
              <a:t>Eurostat</a:t>
            </a:r>
            <a:endParaRPr lang="hu-HU" sz="788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990800" y="2048781"/>
            <a:ext cx="26378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1" dirty="0"/>
              <a:t>Járműgyártás részaránya a GDP-bő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231603" y="1956447"/>
            <a:ext cx="31769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1" dirty="0"/>
              <a:t>Járműgyártás részaránya a foglalkoztatásból (%)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3DC5-9A08-45DE-8E1B-6A7050465108}" type="slidenum">
              <a:rPr lang="hu-HU" smtClean="0"/>
              <a:pPr/>
              <a:t>13</a:t>
            </a:fld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C0104A-06F3-4F34-96F9-B4EDF91726F2}" type="datetime1">
              <a:rPr lang="hu-HU" smtClean="0"/>
              <a:pPr/>
              <a:t>2019.05.21.</a:t>
            </a:fld>
            <a:endParaRPr lang="hu-HU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483954"/>
            <a:ext cx="4510175" cy="320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65069" y="2483954"/>
            <a:ext cx="4578932" cy="320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9028074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971" y="256102"/>
            <a:ext cx="8926286" cy="642938"/>
          </a:xfrm>
        </p:spPr>
        <p:txBody>
          <a:bodyPr>
            <a:noAutofit/>
          </a:bodyPr>
          <a:lstStyle/>
          <a:p>
            <a:r>
              <a:rPr lang="hu-H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élénkülés nálunk főként a belső piachoz köthető szektorokban jelentkezet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89340" y="1366365"/>
            <a:ext cx="15796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b="1" dirty="0">
                <a:latin typeface="Arial" panose="020B0604020202020204" pitchFamily="34" charset="0"/>
                <a:cs typeface="Arial" panose="020B0604020202020204" pitchFamily="34" charset="0"/>
              </a:rPr>
              <a:t>Ipa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469298" y="4214458"/>
            <a:ext cx="15796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b="1" dirty="0">
                <a:latin typeface="Arial" panose="020B0604020202020204" pitchFamily="34" charset="0"/>
                <a:cs typeface="Arial" panose="020B0604020202020204" pitchFamily="34" charset="0"/>
              </a:rPr>
              <a:t>Építőipar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891892" y="1404006"/>
            <a:ext cx="20098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b="1" dirty="0">
                <a:latin typeface="Arial" panose="020B0604020202020204" pitchFamily="34" charset="0"/>
                <a:cs typeface="Arial" panose="020B0604020202020204" pitchFamily="34" charset="0"/>
              </a:rPr>
              <a:t>Piaci szolgáltatások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338125" y="922407"/>
            <a:ext cx="44362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Hozzáadott érték éves változása a versenyszféra fő szektoraiban (%)</a:t>
            </a:r>
          </a:p>
        </p:txBody>
      </p:sp>
      <p:sp>
        <p:nvSpPr>
          <p:cNvPr id="11" name="Dia számának helye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3DC5-9A08-45DE-8E1B-6A7050465108}" type="slidenum">
              <a:rPr lang="hu-HU" smtClean="0"/>
              <a:pPr/>
              <a:t>14</a:t>
            </a:fld>
            <a:endParaRPr lang="hu-HU"/>
          </a:p>
        </p:txBody>
      </p:sp>
      <p:sp>
        <p:nvSpPr>
          <p:cNvPr id="12" name="Szövegdoboz 11"/>
          <p:cNvSpPr txBox="1"/>
          <p:nvPr/>
        </p:nvSpPr>
        <p:spPr>
          <a:xfrm>
            <a:off x="192472" y="6137060"/>
            <a:ext cx="872355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825" dirty="0"/>
              <a:t>Forrás: </a:t>
            </a:r>
            <a:r>
              <a:rPr lang="hu-HU" sz="825" dirty="0" err="1"/>
              <a:t>Eurostat</a:t>
            </a:r>
            <a:endParaRPr lang="hu-HU" sz="825" dirty="0"/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E99745-A039-4861-BB7B-E4DF7865C2C7}" type="datetime1">
              <a:rPr lang="hu-HU" smtClean="0"/>
              <a:pPr/>
              <a:t>2019.05.21.</a:t>
            </a:fld>
            <a:endParaRPr lang="hu-HU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4429" y="1674143"/>
            <a:ext cx="4332514" cy="25403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60485" y="1663159"/>
            <a:ext cx="4272643" cy="2551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15356" y="4522234"/>
            <a:ext cx="5060357" cy="23357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803591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013371" cy="1030492"/>
          </a:xfrm>
        </p:spPr>
        <p:txBody>
          <a:bodyPr>
            <a:noAutofit/>
          </a:bodyPr>
          <a:lstStyle/>
          <a:p>
            <a:r>
              <a:rPr lang="hu-H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ogyasztásunk dinamizálódik, a nettó exportunk fokozatosan mérséklődik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4300" y="896199"/>
            <a:ext cx="29032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b="1" dirty="0">
                <a:latin typeface="Arial" panose="020B0604020202020204" pitchFamily="34" charset="0"/>
                <a:cs typeface="Arial" panose="020B0604020202020204" pitchFamily="34" charset="0"/>
              </a:rPr>
              <a:t>Fogyasztás éves növekedés (%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640581" y="885738"/>
            <a:ext cx="4320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b="1" dirty="0">
                <a:latin typeface="Arial" panose="020B0604020202020204" pitchFamily="34" charset="0"/>
                <a:cs typeface="Arial" panose="020B0604020202020204" pitchFamily="34" charset="0"/>
              </a:rPr>
              <a:t>Nettó export/GDP (%, négy negyedéves gördülő)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3DC5-9A08-45DE-8E1B-6A7050465108}" type="slidenum">
              <a:rPr lang="hu-HU" smtClean="0"/>
              <a:pPr/>
              <a:t>15</a:t>
            </a:fld>
            <a:endParaRPr lang="hu-HU"/>
          </a:p>
        </p:txBody>
      </p:sp>
      <p:sp>
        <p:nvSpPr>
          <p:cNvPr id="5" name="Szövegdoboz 4"/>
          <p:cNvSpPr txBox="1"/>
          <p:nvPr/>
        </p:nvSpPr>
        <p:spPr>
          <a:xfrm flipH="1">
            <a:off x="214028" y="6125519"/>
            <a:ext cx="1204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/>
              <a:t>Forrás: </a:t>
            </a:r>
            <a:r>
              <a:rPr lang="hu-HU" sz="900" dirty="0" err="1"/>
              <a:t>Eurostat</a:t>
            </a:r>
            <a:endParaRPr lang="hu-HU" sz="900" dirty="0"/>
          </a:p>
        </p:txBody>
      </p:sp>
      <p:sp>
        <p:nvSpPr>
          <p:cNvPr id="10" name="Dátum helye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5E06ED-62EC-4DD7-BBAC-70056FE22374}" type="datetime1">
              <a:rPr lang="hu-HU" smtClean="0"/>
              <a:pPr/>
              <a:t>2019.05.21.</a:t>
            </a:fld>
            <a:endParaRPr lang="hu-HU"/>
          </a:p>
        </p:txBody>
      </p:sp>
      <p:sp>
        <p:nvSpPr>
          <p:cNvPr id="8" name="TextBox 7"/>
          <p:cNvSpPr txBox="1"/>
          <p:nvPr/>
        </p:nvSpPr>
        <p:spPr>
          <a:xfrm>
            <a:off x="2110002" y="3853345"/>
            <a:ext cx="42802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b="1" dirty="0">
                <a:latin typeface="Arial" panose="020B0604020202020204" pitchFamily="34" charset="0"/>
                <a:cs typeface="Arial" panose="020B0604020202020204" pitchFamily="34" charset="0"/>
              </a:rPr>
              <a:t>Beruházás/GDP (%, négy negyedéves gördülő)</a:t>
            </a:r>
          </a:p>
        </p:txBody>
      </p:sp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179387"/>
            <a:ext cx="4441371" cy="2637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40581" y="1179387"/>
            <a:ext cx="4372790" cy="2637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33109" y="4161122"/>
            <a:ext cx="5199061" cy="2659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5502402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>
            <a:graphicFrameLocks/>
          </p:cNvGraphicFramePr>
          <p:nvPr>
            <p:extLst/>
          </p:nvPr>
        </p:nvGraphicFramePr>
        <p:xfrm>
          <a:off x="117899" y="2392312"/>
          <a:ext cx="4385246" cy="41478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Diagram 4"/>
          <p:cNvGraphicFramePr>
            <a:graphicFrameLocks/>
          </p:cNvGraphicFramePr>
          <p:nvPr>
            <p:extLst/>
          </p:nvPr>
        </p:nvGraphicFramePr>
        <p:xfrm>
          <a:off x="4774623" y="2392312"/>
          <a:ext cx="4231667" cy="41478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8"/>
          <p:cNvSpPr txBox="1"/>
          <p:nvPr/>
        </p:nvSpPr>
        <p:spPr>
          <a:xfrm>
            <a:off x="713331" y="1572524"/>
            <a:ext cx="34445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Versenyszféra hozzáadott érték megoszlása vállalatméret szerint (2017)</a:t>
            </a:r>
          </a:p>
        </p:txBody>
      </p:sp>
      <p:sp>
        <p:nvSpPr>
          <p:cNvPr id="7" name="TextBox 9"/>
          <p:cNvSpPr txBox="1"/>
          <p:nvPr/>
        </p:nvSpPr>
        <p:spPr>
          <a:xfrm>
            <a:off x="5112770" y="1561630"/>
            <a:ext cx="33483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Versenyszféra foglalkoztatás megoszlása vállalatméret szerint (2017)</a:t>
            </a:r>
          </a:p>
        </p:txBody>
      </p:sp>
      <p:sp>
        <p:nvSpPr>
          <p:cNvPr id="8" name="Téglalap 7"/>
          <p:cNvSpPr/>
          <p:nvPr/>
        </p:nvSpPr>
        <p:spPr>
          <a:xfrm>
            <a:off x="1728440" y="2912870"/>
            <a:ext cx="313864" cy="3627250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350"/>
          </a:p>
        </p:txBody>
      </p:sp>
      <p:sp>
        <p:nvSpPr>
          <p:cNvPr id="9" name="Téglalap 8"/>
          <p:cNvSpPr/>
          <p:nvPr/>
        </p:nvSpPr>
        <p:spPr>
          <a:xfrm>
            <a:off x="6378498" y="2924536"/>
            <a:ext cx="242283" cy="3615583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350"/>
          </a:p>
        </p:txBody>
      </p:sp>
      <p:sp>
        <p:nvSpPr>
          <p:cNvPr id="10" name="TextBox 10"/>
          <p:cNvSpPr txBox="1"/>
          <p:nvPr/>
        </p:nvSpPr>
        <p:spPr>
          <a:xfrm>
            <a:off x="0" y="6540120"/>
            <a:ext cx="32809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100" i="1" dirty="0">
                <a:latin typeface="Arial" panose="020B0604020202020204" pitchFamily="34" charset="0"/>
                <a:cs typeface="Arial" panose="020B0604020202020204" pitchFamily="34" charset="0"/>
              </a:rPr>
              <a:t>Forrás: Eurostat, KT Titkársága szerkesztés</a:t>
            </a:r>
          </a:p>
        </p:txBody>
      </p:sp>
      <p:sp>
        <p:nvSpPr>
          <p:cNvPr id="11" name="Title 3"/>
          <p:cNvSpPr txBox="1">
            <a:spLocks/>
          </p:cNvSpPr>
          <p:nvPr/>
        </p:nvSpPr>
        <p:spPr>
          <a:xfrm>
            <a:off x="57150" y="-1"/>
            <a:ext cx="9006290" cy="157252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KV szektor gazdasági súlya jelentős, hasonlóan más európai országokhoz. A hazai KKV-k hozzáadott értékhez történő hozzájárulásának aránya – csaknem azonosan a Lengyelországéhoz – jócskán elmarad a foglalkoztatottságnál tapasztalt részesedésükhöz képest, s ez lényegileg évek óta nem változik.</a:t>
            </a: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3DC5-9A08-45DE-8E1B-6A7050465108}" type="slidenum">
              <a:rPr lang="hu-HU" smtClean="0"/>
              <a:pPr/>
              <a:t>16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35438616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44" y="254240"/>
            <a:ext cx="8793656" cy="1314308"/>
          </a:xfrm>
        </p:spPr>
        <p:txBody>
          <a:bodyPr>
            <a:noAutofit/>
          </a:bodyPr>
          <a:lstStyle/>
          <a:p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erősödő konjunktúra a hitelezés élénkülését is elhozta nálunk. A lakossági hitelek hazai bővülése egyelőre elmarad a régiós átlagtól. A vállalati hitelek azonban igen dinamikusan alakultak részben a jegybanki programoknak köszönhetőe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57176" y="6258568"/>
            <a:ext cx="44577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>
                <a:latin typeface="Arial" panose="020B0604020202020204" pitchFamily="34" charset="0"/>
                <a:cs typeface="Arial" panose="020B0604020202020204" pitchFamily="34" charset="0"/>
              </a:rPr>
              <a:t>Forrás: ECB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5544" y="1798344"/>
            <a:ext cx="42585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b="1" dirty="0">
                <a:latin typeface="Arial" panose="020B0604020202020204" pitchFamily="34" charset="0"/>
                <a:cs typeface="Arial" panose="020B0604020202020204" pitchFamily="34" charset="0"/>
              </a:rPr>
              <a:t>Vállalati </a:t>
            </a:r>
            <a:r>
              <a:rPr lang="hu-H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hitelflow</a:t>
            </a:r>
            <a:r>
              <a:rPr lang="hu-HU" sz="1400" b="1" dirty="0">
                <a:latin typeface="Arial" panose="020B0604020202020204" pitchFamily="34" charset="0"/>
                <a:cs typeface="Arial" panose="020B0604020202020204" pitchFamily="34" charset="0"/>
              </a:rPr>
              <a:t>/GDP ( 4 negyedéves érték,%)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61114" y="1798343"/>
            <a:ext cx="48398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400" b="1" dirty="0">
                <a:latin typeface="Arial" panose="020B0604020202020204" pitchFamily="34" charset="0"/>
                <a:cs typeface="Arial" panose="020B0604020202020204" pitchFamily="34" charset="0"/>
              </a:rPr>
              <a:t>Lakossági </a:t>
            </a:r>
            <a:r>
              <a:rPr lang="hu-H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hitelflow</a:t>
            </a:r>
            <a:r>
              <a:rPr lang="hu-HU" sz="1400" b="1" dirty="0">
                <a:latin typeface="Arial" panose="020B0604020202020204" pitchFamily="34" charset="0"/>
                <a:cs typeface="Arial" panose="020B0604020202020204" pitchFamily="34" charset="0"/>
              </a:rPr>
              <a:t>/GDP ( 4 negyedéves érték, %)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3DC5-9A08-45DE-8E1B-6A7050465108}" type="slidenum">
              <a:rPr lang="hu-HU" smtClean="0"/>
              <a:pPr/>
              <a:t>17</a:t>
            </a:fld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6E422F-0B83-49C9-A04B-2C5164ED0995}" type="datetime1">
              <a:rPr lang="hu-HU" smtClean="0"/>
              <a:pPr/>
              <a:t>2019.05.21.</a:t>
            </a:fld>
            <a:endParaRPr lang="hu-HU" dirty="0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544" y="2203904"/>
            <a:ext cx="4395827" cy="32230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61114" y="2203904"/>
            <a:ext cx="4582886" cy="32230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1300871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663337514"/>
              </p:ext>
            </p:extLst>
          </p:nvPr>
        </p:nvGraphicFramePr>
        <p:xfrm>
          <a:off x="0" y="1939247"/>
          <a:ext cx="4122261" cy="4124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Diagram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060238194"/>
              </p:ext>
            </p:extLst>
          </p:nvPr>
        </p:nvGraphicFramePr>
        <p:xfrm>
          <a:off x="4023147" y="1762554"/>
          <a:ext cx="4249996" cy="42866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Szövegdoboz 5"/>
          <p:cNvSpPr txBox="1"/>
          <p:nvPr/>
        </p:nvSpPr>
        <p:spPr>
          <a:xfrm>
            <a:off x="0" y="6538913"/>
            <a:ext cx="624468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100" i="1" dirty="0"/>
              <a:t>Forrás: KSH adatok alapján KT Titkársága gyűjtés és szerkesztés</a:t>
            </a:r>
          </a:p>
        </p:txBody>
      </p:sp>
      <p:sp>
        <p:nvSpPr>
          <p:cNvPr id="7" name="Szövegdoboz 6"/>
          <p:cNvSpPr txBox="1"/>
          <p:nvPr/>
        </p:nvSpPr>
        <p:spPr>
          <a:xfrm>
            <a:off x="112282" y="131195"/>
            <a:ext cx="884929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zánk </a:t>
            </a:r>
            <a:r>
              <a:rPr lang="hu-HU" sz="2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ortjában</a:t>
            </a:r>
            <a:r>
              <a:rPr lang="hu-H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döntő súlyt képviselő EU országok részesedése tovább emelkedett – Ázsia, valamint EU-n kívüli európai országok „kárára”</a:t>
            </a:r>
          </a:p>
        </p:txBody>
      </p:sp>
      <p:sp>
        <p:nvSpPr>
          <p:cNvPr id="8" name="Szövegdoboz 7"/>
          <p:cNvSpPr txBox="1"/>
          <p:nvPr/>
        </p:nvSpPr>
        <p:spPr>
          <a:xfrm>
            <a:off x="1248207" y="1278215"/>
            <a:ext cx="65774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>Magyarország exportjának </a:t>
            </a:r>
            <a:r>
              <a:rPr lang="hu-HU" b="1" dirty="0" err="1">
                <a:latin typeface="Arial" panose="020B0604020202020204" pitchFamily="34" charset="0"/>
                <a:cs typeface="Arial" panose="020B0604020202020204" pitchFamily="34" charset="0"/>
              </a:rPr>
              <a:t>országcsoportonkénti</a:t>
            </a:r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> összetétele 2010-ben és 2017-ben</a:t>
            </a:r>
          </a:p>
        </p:txBody>
      </p:sp>
      <p:sp>
        <p:nvSpPr>
          <p:cNvPr id="9" name="Szövegdoboz 8"/>
          <p:cNvSpPr txBox="1"/>
          <p:nvPr/>
        </p:nvSpPr>
        <p:spPr>
          <a:xfrm>
            <a:off x="0" y="6078624"/>
            <a:ext cx="904760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100" dirty="0"/>
              <a:t>EU-n kívüli európai országok közé vannak sorolva Európához és Ázsiához is tartozó országok: Azerbajdzsán, Kazahsztán, Oroszország, Örményország, Törökország </a:t>
            </a: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3DC5-9A08-45DE-8E1B-6A7050465108}" type="slidenum">
              <a:rPr lang="hu-HU" smtClean="0"/>
              <a:pPr/>
              <a:t>18</a:t>
            </a:fld>
            <a:endParaRPr lang="hu-HU"/>
          </a:p>
        </p:txBody>
      </p:sp>
      <p:graphicFrame>
        <p:nvGraphicFramePr>
          <p:cNvPr id="10" name="Táblázat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238338037"/>
              </p:ext>
            </p:extLst>
          </p:nvPr>
        </p:nvGraphicFramePr>
        <p:xfrm>
          <a:off x="7728857" y="1331524"/>
          <a:ext cx="1318745" cy="3680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42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0446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hu-HU" dirty="0"/>
                        <a:t>HU fő </a:t>
                      </a:r>
                      <a:r>
                        <a:rPr lang="hu-HU" dirty="0" err="1"/>
                        <a:t>kül-kereskedelmi</a:t>
                      </a:r>
                      <a:r>
                        <a:rPr lang="hu-HU" dirty="0"/>
                        <a:t> partnerei, 2017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hu-HU" dirty="0"/>
                        <a:t>1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/>
                        <a:t>D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hu-HU" dirty="0"/>
                        <a:t>2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/>
                        <a:t>R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hu-HU" dirty="0"/>
                        <a:t>3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/>
                        <a:t>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hu-HU" dirty="0"/>
                        <a:t>4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/>
                        <a:t>A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hu-HU" dirty="0"/>
                        <a:t>5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/>
                        <a:t>S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hu-HU" dirty="0"/>
                        <a:t>6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/>
                        <a:t>F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hu-HU" dirty="0"/>
                        <a:t>7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/>
                        <a:t>CZ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hu-HU" dirty="0"/>
                        <a:t>8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/>
                        <a:t>P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hu-HU" dirty="0"/>
                        <a:t>9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/>
                        <a:t>U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hu-HU" dirty="0"/>
                        <a:t>10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/>
                        <a:t>N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8258375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095237722"/>
              </p:ext>
            </p:extLst>
          </p:nvPr>
        </p:nvGraphicFramePr>
        <p:xfrm>
          <a:off x="90890" y="1954549"/>
          <a:ext cx="4461767" cy="4089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Diagram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901967065"/>
              </p:ext>
            </p:extLst>
          </p:nvPr>
        </p:nvGraphicFramePr>
        <p:xfrm>
          <a:off x="4661013" y="1954549"/>
          <a:ext cx="4345277" cy="4089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Szövegdoboz 5"/>
          <p:cNvSpPr txBox="1"/>
          <p:nvPr/>
        </p:nvSpPr>
        <p:spPr>
          <a:xfrm>
            <a:off x="0" y="6575917"/>
            <a:ext cx="443818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100" i="1" dirty="0"/>
              <a:t>Forrás: KSH adatok alapján KT Titkársága gyűjtés és szerkesztés</a:t>
            </a:r>
          </a:p>
        </p:txBody>
      </p:sp>
      <p:sp>
        <p:nvSpPr>
          <p:cNvPr id="7" name="Szövegdoboz 6"/>
          <p:cNvSpPr txBox="1"/>
          <p:nvPr/>
        </p:nvSpPr>
        <p:spPr>
          <a:xfrm>
            <a:off x="1482890" y="1308218"/>
            <a:ext cx="65774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>Magyarország importjának </a:t>
            </a:r>
            <a:r>
              <a:rPr lang="hu-HU" b="1" dirty="0" err="1">
                <a:latin typeface="Arial" panose="020B0604020202020204" pitchFamily="34" charset="0"/>
                <a:cs typeface="Arial" panose="020B0604020202020204" pitchFamily="34" charset="0"/>
              </a:rPr>
              <a:t>országcsoportonkénti</a:t>
            </a:r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> összetétele 2010-ben és 2017-ben</a:t>
            </a:r>
          </a:p>
        </p:txBody>
      </p:sp>
      <p:sp>
        <p:nvSpPr>
          <p:cNvPr id="8" name="Szövegdoboz 7"/>
          <p:cNvSpPr txBox="1"/>
          <p:nvPr/>
        </p:nvSpPr>
        <p:spPr>
          <a:xfrm>
            <a:off x="90890" y="57354"/>
            <a:ext cx="89154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zánk </a:t>
            </a:r>
            <a:r>
              <a:rPr lang="hu-HU" sz="2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jában</a:t>
            </a:r>
            <a:r>
              <a:rPr lang="hu-H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őteljesen nőtt az EU országainak részesedése. Ázsia, valamint az EU-n kívüli európai országok jelentősen visszaestek</a:t>
            </a:r>
          </a:p>
        </p:txBody>
      </p:sp>
      <p:sp>
        <p:nvSpPr>
          <p:cNvPr id="2" name="Szövegdoboz 1"/>
          <p:cNvSpPr txBox="1"/>
          <p:nvPr/>
        </p:nvSpPr>
        <p:spPr>
          <a:xfrm>
            <a:off x="-23410" y="6145030"/>
            <a:ext cx="9144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100" dirty="0"/>
              <a:t>EU-n kívüli európai országok közé vannak sorolva Európához és Ázsiához is tartozó országok: Azerbajdzsán, Kazahsztán, Oroszország, Örményország, Törökország </a:t>
            </a:r>
          </a:p>
        </p:txBody>
      </p:sp>
    </p:spTree>
    <p:extLst>
      <p:ext uri="{BB962C8B-B14F-4D97-AF65-F5344CB8AC3E}">
        <p14:creationId xmlns:p14="http://schemas.microsoft.com/office/powerpoint/2010/main" xmlns="" val="8173945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Diagram 30">
            <a:extLst>
              <a:ext uri="{FF2B5EF4-FFF2-40B4-BE49-F238E27FC236}">
                <a16:creationId xmlns="" xmlns:a16="http://schemas.microsoft.com/office/drawing/2014/main" id="{2E58A7DB-0B50-43A4-AC42-A054309F3E2B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870013" y="1431130"/>
          <a:ext cx="6921668" cy="3921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075" name="Cím 1"/>
          <p:cNvSpPr>
            <a:spLocks noGrp="1"/>
          </p:cNvSpPr>
          <p:nvPr>
            <p:ph type="title"/>
          </p:nvPr>
        </p:nvSpPr>
        <p:spPr>
          <a:xfrm>
            <a:off x="1" y="3989"/>
            <a:ext cx="9052560" cy="1418808"/>
          </a:xfrm>
        </p:spPr>
        <p:txBody>
          <a:bodyPr>
            <a:noAutofit/>
          </a:bodyPr>
          <a:lstStyle/>
          <a:p>
            <a:pPr eaLnBrk="1" hangingPunct="1">
              <a:lnSpc>
                <a:spcPct val="100000"/>
              </a:lnSpc>
            </a:pPr>
            <a:r>
              <a:rPr lang="hu-H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llámhegyek, hullámvölgyek a magyar államadósság-ráta, valamint gazdasági növekedés kormányzati ciklusok szerinti alakulásában. Munkanélküliség a 2010-es évekig, mára munkaerőhiány</a:t>
            </a:r>
            <a:r>
              <a:rPr lang="hu-HU" altLang="en-US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alt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alt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A kormányzás, a </a:t>
            </a:r>
            <a:r>
              <a:rPr lang="hu-HU" altLang="en-US" sz="1600" b="1" dirty="0">
                <a:solidFill>
                  <a:srgbClr val="5B9BD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DP arányos</a:t>
            </a:r>
            <a:r>
              <a:rPr lang="en-US" altLang="en-US" sz="1600" b="1" dirty="0">
                <a:solidFill>
                  <a:srgbClr val="5B9BD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altLang="en-US" sz="1600" b="1" dirty="0">
                <a:solidFill>
                  <a:srgbClr val="5B9BD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llamadósság</a:t>
            </a:r>
            <a:r>
              <a:rPr lang="hu-HU" alt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, a </a:t>
            </a:r>
            <a:r>
              <a:rPr lang="hu-HU" altLang="en-US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DP változása az előző évhez képest</a:t>
            </a:r>
            <a:r>
              <a:rPr lang="hu-HU" alt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, valamint a munkanélküliség</a:t>
            </a:r>
            <a:r>
              <a:rPr lang="en-US" alt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alt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alakulása</a:t>
            </a:r>
          </a:p>
        </p:txBody>
      </p:sp>
      <p:sp>
        <p:nvSpPr>
          <p:cNvPr id="3076" name="Dátum helye 1"/>
          <p:cNvSpPr>
            <a:spLocks noGrp="1"/>
          </p:cNvSpPr>
          <p:nvPr>
            <p:ph type="dt" sz="quarter" idx="10"/>
          </p:nvPr>
        </p:nvSpPr>
        <p:spPr bwMode="auto">
          <a:xfrm>
            <a:off x="1234678" y="5919723"/>
            <a:ext cx="4566047" cy="372729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17910" indent="-16073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642938" indent="-128588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900113" indent="-128588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157288" indent="-128588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500188" indent="-128588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1843088" indent="-128588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185988" indent="-128588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528888" indent="-128588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hu-HU" altLang="hu-HU" sz="900" dirty="0">
                <a:solidFill>
                  <a:srgbClr val="000000"/>
                </a:solidFill>
              </a:rPr>
              <a:t>A nyilak a választások időpontját, a színek az aktuális kormány vezető pártjának „színét” jelölik. </a:t>
            </a:r>
          </a:p>
        </p:txBody>
      </p:sp>
      <p:sp>
        <p:nvSpPr>
          <p:cNvPr id="3077" name="Szövegdoboz 6"/>
          <p:cNvSpPr txBox="1">
            <a:spLocks noChangeArrowheads="1"/>
          </p:cNvSpPr>
          <p:nvPr/>
        </p:nvSpPr>
        <p:spPr bwMode="auto">
          <a:xfrm>
            <a:off x="113200" y="6574632"/>
            <a:ext cx="353975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hu-HU" altLang="en-US" sz="1000" i="1" dirty="0">
                <a:solidFill>
                  <a:srgbClr val="00245D"/>
                </a:solidFill>
                <a:ea typeface="Osaka"/>
                <a:cs typeface="Osaka"/>
              </a:rPr>
              <a:t>Forrás: </a:t>
            </a:r>
            <a:r>
              <a:rPr lang="hu-HU" altLang="en-US" sz="1000" i="1" dirty="0" err="1">
                <a:solidFill>
                  <a:srgbClr val="00245D"/>
                </a:solidFill>
                <a:ea typeface="Osaka"/>
                <a:cs typeface="Osaka"/>
              </a:rPr>
              <a:t>Eurostat</a:t>
            </a:r>
            <a:r>
              <a:rPr lang="hu-HU" altLang="en-US" sz="1000" i="1" dirty="0">
                <a:solidFill>
                  <a:srgbClr val="00245D"/>
                </a:solidFill>
                <a:ea typeface="Osaka"/>
                <a:cs typeface="Osaka"/>
              </a:rPr>
              <a:t>, ÁKK, * Konvergencia Program, saját szerkesztés</a:t>
            </a:r>
          </a:p>
        </p:txBody>
      </p:sp>
      <p:cxnSp>
        <p:nvCxnSpPr>
          <p:cNvPr id="11" name="Egyenes összekötő 10">
            <a:extLst>
              <a:ext uri="{FF2B5EF4-FFF2-40B4-BE49-F238E27FC236}">
                <a16:creationId xmlns="" xmlns:a16="http://schemas.microsoft.com/office/drawing/2014/main" id="{28FD4698-4A24-4264-A073-604E74C43547}"/>
              </a:ext>
            </a:extLst>
          </p:cNvPr>
          <p:cNvCxnSpPr>
            <a:cxnSpLocks/>
          </p:cNvCxnSpPr>
          <p:nvPr/>
        </p:nvCxnSpPr>
        <p:spPr>
          <a:xfrm flipH="1" flipV="1">
            <a:off x="2967355" y="2364491"/>
            <a:ext cx="25852" cy="221659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Egyenes összekötő 12">
            <a:extLst>
              <a:ext uri="{FF2B5EF4-FFF2-40B4-BE49-F238E27FC236}">
                <a16:creationId xmlns="" xmlns:a16="http://schemas.microsoft.com/office/drawing/2014/main" id="{4BB0D880-A2DD-4E13-B999-5F5D8CB70680}"/>
              </a:ext>
            </a:extLst>
          </p:cNvPr>
          <p:cNvCxnSpPr>
            <a:cxnSpLocks/>
          </p:cNvCxnSpPr>
          <p:nvPr/>
        </p:nvCxnSpPr>
        <p:spPr>
          <a:xfrm flipH="1" flipV="1">
            <a:off x="5682723" y="2252662"/>
            <a:ext cx="4074" cy="241352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82" name="Szövegdoboz 13">
            <a:extLst>
              <a:ext uri="{FF2B5EF4-FFF2-40B4-BE49-F238E27FC236}">
                <a16:creationId xmlns="" xmlns:a16="http://schemas.microsoft.com/office/drawing/2014/main" id="{D2BF3FFB-CFE9-4ED1-92B5-7CD419E78E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8002" y="1459433"/>
            <a:ext cx="1082086" cy="352148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hu-HU" altLang="en-US" sz="844" dirty="0" err="1">
                <a:solidFill>
                  <a:srgbClr val="000000"/>
                </a:solidFill>
                <a:latin typeface="Arial" panose="020B0604020202020204" pitchFamily="34" charset="0"/>
              </a:rPr>
              <a:t>Rendszerválto-zási</a:t>
            </a:r>
            <a:r>
              <a:rPr lang="hu-HU" altLang="en-US" sz="844" dirty="0">
                <a:solidFill>
                  <a:srgbClr val="000000"/>
                </a:solidFill>
                <a:latin typeface="Arial" panose="020B0604020202020204" pitchFamily="34" charset="0"/>
              </a:rPr>
              <a:t> sokk</a:t>
            </a:r>
          </a:p>
        </p:txBody>
      </p:sp>
      <p:sp>
        <p:nvSpPr>
          <p:cNvPr id="3081" name="Szövegdoboz 14"/>
          <p:cNvSpPr txBox="1">
            <a:spLocks noChangeArrowheads="1"/>
          </p:cNvSpPr>
          <p:nvPr/>
        </p:nvSpPr>
        <p:spPr bwMode="auto">
          <a:xfrm>
            <a:off x="2459115" y="1431130"/>
            <a:ext cx="1007698" cy="507831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hu-HU" altLang="en-US" sz="900">
                <a:solidFill>
                  <a:srgbClr val="000000"/>
                </a:solidFill>
                <a:latin typeface="Arial" panose="020B0604020202020204" pitchFamily="34" charset="0"/>
              </a:rPr>
              <a:t>Költségvetési kiigazítás és felzárkózás</a:t>
            </a:r>
          </a:p>
        </p:txBody>
      </p:sp>
      <p:sp>
        <p:nvSpPr>
          <p:cNvPr id="36876" name="Szövegdoboz 15">
            <a:extLst>
              <a:ext uri="{FF2B5EF4-FFF2-40B4-BE49-F238E27FC236}">
                <a16:creationId xmlns="" xmlns:a16="http://schemas.microsoft.com/office/drawing/2014/main" id="{390704C4-CE37-4DE7-AE14-FE7217BC21A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47548" y="1459433"/>
            <a:ext cx="323165" cy="1310957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vert270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None/>
              <a:defRPr/>
            </a:pPr>
            <a:r>
              <a:rPr lang="hu-HU" altLang="en-US" sz="900" dirty="0">
                <a:solidFill>
                  <a:prstClr val="black"/>
                </a:solidFill>
              </a:rPr>
              <a:t>Kisebb fiskális lazítás</a:t>
            </a:r>
          </a:p>
        </p:txBody>
      </p:sp>
      <p:sp>
        <p:nvSpPr>
          <p:cNvPr id="3083" name="Szövegdoboz 16"/>
          <p:cNvSpPr txBox="1">
            <a:spLocks noChangeArrowheads="1"/>
          </p:cNvSpPr>
          <p:nvPr/>
        </p:nvSpPr>
        <p:spPr bwMode="auto">
          <a:xfrm>
            <a:off x="5005109" y="1491012"/>
            <a:ext cx="832247" cy="727122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hu-HU" altLang="en-US" sz="825" dirty="0">
                <a:solidFill>
                  <a:srgbClr val="000000"/>
                </a:solidFill>
                <a:latin typeface="Arial" panose="020B0604020202020204" pitchFamily="34" charset="0"/>
              </a:rPr>
              <a:t>A pénzügyi válság hatásainak eredménytelen kezelése </a:t>
            </a:r>
          </a:p>
        </p:txBody>
      </p:sp>
      <p:sp>
        <p:nvSpPr>
          <p:cNvPr id="3084" name="Szövegdoboz 17"/>
          <p:cNvSpPr txBox="1">
            <a:spLocks noChangeArrowheads="1"/>
          </p:cNvSpPr>
          <p:nvPr/>
        </p:nvSpPr>
        <p:spPr bwMode="auto">
          <a:xfrm>
            <a:off x="5932885" y="1496110"/>
            <a:ext cx="696516" cy="507831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hu-HU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Fiskális 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hu-HU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stabilizáció</a:t>
            </a:r>
          </a:p>
        </p:txBody>
      </p:sp>
      <p:sp>
        <p:nvSpPr>
          <p:cNvPr id="16390" name="Lefelé nyíl 16389">
            <a:extLst>
              <a:ext uri="{FF2B5EF4-FFF2-40B4-BE49-F238E27FC236}">
                <a16:creationId xmlns="" xmlns:a16="http://schemas.microsoft.com/office/drawing/2014/main" id="{750D81D8-7FF6-443A-9520-1D1AD26427B4}"/>
              </a:ext>
            </a:extLst>
          </p:cNvPr>
          <p:cNvSpPr/>
          <p:nvPr/>
        </p:nvSpPr>
        <p:spPr>
          <a:xfrm>
            <a:off x="2013943" y="4792384"/>
            <a:ext cx="88106" cy="16311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sz="1013">
              <a:solidFill>
                <a:prstClr val="white"/>
              </a:solidFill>
            </a:endParaRPr>
          </a:p>
        </p:txBody>
      </p:sp>
      <p:sp>
        <p:nvSpPr>
          <p:cNvPr id="16392" name="Lefelé nyíl 16391">
            <a:extLst>
              <a:ext uri="{FF2B5EF4-FFF2-40B4-BE49-F238E27FC236}">
                <a16:creationId xmlns="" xmlns:a16="http://schemas.microsoft.com/office/drawing/2014/main" id="{6E0EAAF6-BC56-4B6B-A6BF-9AFB06F58F8F}"/>
              </a:ext>
            </a:extLst>
          </p:cNvPr>
          <p:cNvSpPr/>
          <p:nvPr/>
        </p:nvSpPr>
        <p:spPr>
          <a:xfrm>
            <a:off x="4735578" y="4734902"/>
            <a:ext cx="88106" cy="19288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sz="1013">
              <a:solidFill>
                <a:prstClr val="white"/>
              </a:solidFill>
            </a:endParaRPr>
          </a:p>
        </p:txBody>
      </p:sp>
      <p:sp>
        <p:nvSpPr>
          <p:cNvPr id="16401" name="Lefelé nyíl 16400">
            <a:extLst>
              <a:ext uri="{FF2B5EF4-FFF2-40B4-BE49-F238E27FC236}">
                <a16:creationId xmlns="" xmlns:a16="http://schemas.microsoft.com/office/drawing/2014/main" id="{5790D295-44E9-440E-9607-3B9CD8DD5E43}"/>
              </a:ext>
            </a:extLst>
          </p:cNvPr>
          <p:cNvSpPr/>
          <p:nvPr/>
        </p:nvSpPr>
        <p:spPr>
          <a:xfrm>
            <a:off x="5625124" y="4743449"/>
            <a:ext cx="86916" cy="19288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sz="1013">
              <a:solidFill>
                <a:prstClr val="white"/>
              </a:solidFill>
            </a:endParaRPr>
          </a:p>
        </p:txBody>
      </p:sp>
      <p:sp>
        <p:nvSpPr>
          <p:cNvPr id="3088" name="Szövegdoboz 4"/>
          <p:cNvSpPr txBox="1">
            <a:spLocks noChangeArrowheads="1"/>
          </p:cNvSpPr>
          <p:nvPr/>
        </p:nvSpPr>
        <p:spPr bwMode="auto">
          <a:xfrm>
            <a:off x="6727405" y="1528460"/>
            <a:ext cx="732235" cy="369332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hu-HU" altLang="hu-HU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yre-állítás</a:t>
            </a:r>
          </a:p>
        </p:txBody>
      </p:sp>
      <p:sp>
        <p:nvSpPr>
          <p:cNvPr id="9" name="Jobbra nyíl 8">
            <a:extLst>
              <a:ext uri="{FF2B5EF4-FFF2-40B4-BE49-F238E27FC236}">
                <a16:creationId xmlns="" xmlns:a16="http://schemas.microsoft.com/office/drawing/2014/main" id="{11BBA901-766C-4044-A224-ACF813A3EDA9}"/>
              </a:ext>
            </a:extLst>
          </p:cNvPr>
          <p:cNvSpPr/>
          <p:nvPr/>
        </p:nvSpPr>
        <p:spPr>
          <a:xfrm>
            <a:off x="6693695" y="5258357"/>
            <a:ext cx="1404309" cy="397669"/>
          </a:xfrm>
          <a:prstGeom prst="rightArrow">
            <a:avLst>
              <a:gd name="adj1" fmla="val 50000"/>
              <a:gd name="adj2" fmla="val 18149"/>
            </a:avLst>
          </a:prstGeom>
          <a:solidFill>
            <a:srgbClr val="FFC000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hu-HU" sz="788" b="1" dirty="0">
                <a:solidFill>
                  <a:srgbClr val="FAFAF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hu-HU" sz="750" b="1" dirty="0">
                <a:solidFill>
                  <a:srgbClr val="FAFAF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–66-67 % többség </a:t>
            </a:r>
          </a:p>
        </p:txBody>
      </p:sp>
      <p:sp>
        <p:nvSpPr>
          <p:cNvPr id="14" name="Ellipszis 13">
            <a:extLst>
              <a:ext uri="{FF2B5EF4-FFF2-40B4-BE49-F238E27FC236}">
                <a16:creationId xmlns="" xmlns:a16="http://schemas.microsoft.com/office/drawing/2014/main" id="{9B00A88E-D51E-4A2B-93AC-F7065ADAD63A}"/>
              </a:ext>
            </a:extLst>
          </p:cNvPr>
          <p:cNvSpPr/>
          <p:nvPr/>
        </p:nvSpPr>
        <p:spPr>
          <a:xfrm>
            <a:off x="4412457" y="3911346"/>
            <a:ext cx="1563291" cy="692319"/>
          </a:xfrm>
          <a:prstGeom prst="ellipse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78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ósság-arány </a:t>
            </a:r>
            <a:r>
              <a:rPr lang="hu-HU" sz="788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mlás</a:t>
            </a:r>
            <a:r>
              <a:rPr lang="hu-HU" sz="78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integy </a:t>
            </a:r>
          </a:p>
          <a:p>
            <a:pPr algn="ctr">
              <a:defRPr/>
            </a:pPr>
            <a:r>
              <a:rPr lang="hu-HU" sz="78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0 </a:t>
            </a:r>
            <a:r>
              <a:rPr lang="hu-HU" sz="788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rd-nyi</a:t>
            </a:r>
            <a:r>
              <a:rPr lang="hu-HU" sz="78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agyon </a:t>
            </a:r>
            <a:r>
              <a:rPr lang="hu-HU" sz="788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rtékesítése </a:t>
            </a:r>
            <a:r>
              <a:rPr lang="hu-HU" sz="78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nére!</a:t>
            </a:r>
          </a:p>
        </p:txBody>
      </p:sp>
      <p:sp>
        <p:nvSpPr>
          <p:cNvPr id="20" name="Téglalap 19">
            <a:extLst>
              <a:ext uri="{FF2B5EF4-FFF2-40B4-BE49-F238E27FC236}">
                <a16:creationId xmlns="" xmlns:a16="http://schemas.microsoft.com/office/drawing/2014/main" id="{D307055C-AA27-4E09-AB7E-6F57F142D86F}"/>
              </a:ext>
            </a:extLst>
          </p:cNvPr>
          <p:cNvSpPr/>
          <p:nvPr/>
        </p:nvSpPr>
        <p:spPr>
          <a:xfrm>
            <a:off x="5735834" y="5351860"/>
            <a:ext cx="947145" cy="213122"/>
          </a:xfrm>
          <a:prstGeom prst="rect">
            <a:avLst/>
          </a:prstGeom>
          <a:solidFill>
            <a:srgbClr val="FFC000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75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8 %-os többség</a:t>
            </a:r>
          </a:p>
        </p:txBody>
      </p:sp>
      <p:sp>
        <p:nvSpPr>
          <p:cNvPr id="3094" name="Téglalap 21">
            <a:extLst>
              <a:ext uri="{FF2B5EF4-FFF2-40B4-BE49-F238E27FC236}">
                <a16:creationId xmlns="" xmlns:a16="http://schemas.microsoft.com/office/drawing/2014/main" id="{00A2CCC2-1F08-46F1-A159-BFE3B7A87C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9882" y="3144441"/>
            <a:ext cx="950119" cy="941091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defRPr/>
            </a:pPr>
            <a:r>
              <a:rPr lang="hu-HU" altLang="hu-HU" sz="788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ósság-arány </a:t>
            </a:r>
          </a:p>
          <a:p>
            <a:pPr algn="ctr">
              <a:defRPr/>
            </a:pPr>
            <a:r>
              <a:rPr lang="hu-HU" altLang="hu-HU" sz="788" b="1" i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vulás </a:t>
            </a:r>
            <a:r>
              <a:rPr lang="hu-HU" altLang="hu-HU" sz="788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öbb mint </a:t>
            </a:r>
          </a:p>
          <a:p>
            <a:pPr algn="ctr">
              <a:defRPr/>
            </a:pPr>
            <a:r>
              <a:rPr lang="hu-HU" altLang="hu-HU" sz="788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0 Mrd-nyi vagyon </a:t>
            </a:r>
            <a:r>
              <a:rPr lang="hu-HU" altLang="hu-HU" sz="788" b="1" i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szavásárlása </a:t>
            </a:r>
            <a:r>
              <a:rPr lang="hu-HU" altLang="hu-HU" sz="788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llett!</a:t>
            </a:r>
          </a:p>
        </p:txBody>
      </p:sp>
      <p:sp>
        <p:nvSpPr>
          <p:cNvPr id="23" name="Háromszög 22">
            <a:extLst>
              <a:ext uri="{FF2B5EF4-FFF2-40B4-BE49-F238E27FC236}">
                <a16:creationId xmlns="" xmlns:a16="http://schemas.microsoft.com/office/drawing/2014/main" id="{089BD775-3C7F-4D3A-9DF9-68D4A5BFF703}"/>
              </a:ext>
            </a:extLst>
          </p:cNvPr>
          <p:cNvSpPr/>
          <p:nvPr/>
        </p:nvSpPr>
        <p:spPr>
          <a:xfrm rot="5400000">
            <a:off x="7233944" y="1603593"/>
            <a:ext cx="295275" cy="244079"/>
          </a:xfrm>
          <a:prstGeom prst="triangle">
            <a:avLst>
              <a:gd name="adj" fmla="val 52321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sz="1013">
              <a:solidFill>
                <a:prstClr val="white"/>
              </a:solidFill>
            </a:endParaRPr>
          </a:p>
        </p:txBody>
      </p:sp>
      <p:sp>
        <p:nvSpPr>
          <p:cNvPr id="24" name="Ellipszis 23">
            <a:extLst>
              <a:ext uri="{FF2B5EF4-FFF2-40B4-BE49-F238E27FC236}">
                <a16:creationId xmlns="" xmlns:a16="http://schemas.microsoft.com/office/drawing/2014/main" id="{AC2738A7-ABB1-475A-82DE-9C8198EEC544}"/>
              </a:ext>
            </a:extLst>
          </p:cNvPr>
          <p:cNvSpPr/>
          <p:nvPr/>
        </p:nvSpPr>
        <p:spPr>
          <a:xfrm>
            <a:off x="6013848" y="3231356"/>
            <a:ext cx="25003" cy="2500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sz="1013">
              <a:solidFill>
                <a:prstClr val="white"/>
              </a:solidFill>
            </a:endParaRPr>
          </a:p>
        </p:txBody>
      </p:sp>
      <p:sp>
        <p:nvSpPr>
          <p:cNvPr id="25" name="Ellipszis 24">
            <a:extLst>
              <a:ext uri="{FF2B5EF4-FFF2-40B4-BE49-F238E27FC236}">
                <a16:creationId xmlns="" xmlns:a16="http://schemas.microsoft.com/office/drawing/2014/main" id="{3993CE29-9753-4FA1-80D8-11017CBA4A39}"/>
              </a:ext>
            </a:extLst>
          </p:cNvPr>
          <p:cNvSpPr/>
          <p:nvPr/>
        </p:nvSpPr>
        <p:spPr>
          <a:xfrm>
            <a:off x="5014913" y="2749783"/>
            <a:ext cx="960835" cy="772716"/>
          </a:xfrm>
          <a:prstGeom prst="ellipse">
            <a:avLst/>
          </a:prstGeom>
          <a:solidFill>
            <a:srgbClr val="912F8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788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nmozgó adósság-spirál, majd </a:t>
            </a:r>
            <a:r>
              <a:rPr lang="hu-HU" sz="788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sődközeli</a:t>
            </a:r>
            <a:r>
              <a:rPr lang="hu-HU" sz="788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elyzet</a:t>
            </a:r>
          </a:p>
        </p:txBody>
      </p:sp>
      <p:cxnSp>
        <p:nvCxnSpPr>
          <p:cNvPr id="15" name="Egyenes összekötő 14">
            <a:extLst>
              <a:ext uri="{FF2B5EF4-FFF2-40B4-BE49-F238E27FC236}">
                <a16:creationId xmlns="" xmlns:a16="http://schemas.microsoft.com/office/drawing/2014/main" id="{1849C081-421A-4CA2-B374-DFEAFA546410}"/>
              </a:ext>
            </a:extLst>
          </p:cNvPr>
          <p:cNvCxnSpPr/>
          <p:nvPr/>
        </p:nvCxnSpPr>
        <p:spPr>
          <a:xfrm flipH="1" flipV="1">
            <a:off x="2053235" y="2402407"/>
            <a:ext cx="3629" cy="160047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88" name="Ellipszis 16387">
            <a:extLst>
              <a:ext uri="{FF2B5EF4-FFF2-40B4-BE49-F238E27FC236}">
                <a16:creationId xmlns="" xmlns:a16="http://schemas.microsoft.com/office/drawing/2014/main" id="{99276A40-4B81-4C93-8062-D39D8E2034F4}"/>
              </a:ext>
            </a:extLst>
          </p:cNvPr>
          <p:cNvSpPr/>
          <p:nvPr/>
        </p:nvSpPr>
        <p:spPr>
          <a:xfrm rot="16200000">
            <a:off x="5434608" y="3258146"/>
            <a:ext cx="1547813" cy="398859"/>
          </a:xfrm>
          <a:prstGeom prst="ellipse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675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ugdíjvagyon </a:t>
            </a:r>
          </a:p>
          <a:p>
            <a:pPr algn="ctr">
              <a:defRPr/>
            </a:pPr>
            <a:r>
              <a:rPr lang="hu-HU" sz="675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sszhatásában semleges értékesítése</a:t>
            </a:r>
            <a:endParaRPr lang="hu-HU" sz="67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" name="Egyenes összekötő 15">
            <a:extLst>
              <a:ext uri="{FF2B5EF4-FFF2-40B4-BE49-F238E27FC236}">
                <a16:creationId xmlns="" xmlns:a16="http://schemas.microsoft.com/office/drawing/2014/main" id="{27949C1D-E861-4DA8-B89B-47ACC1D897E8}"/>
              </a:ext>
            </a:extLst>
          </p:cNvPr>
          <p:cNvCxnSpPr>
            <a:cxnSpLocks/>
          </p:cNvCxnSpPr>
          <p:nvPr/>
        </p:nvCxnSpPr>
        <p:spPr>
          <a:xfrm flipH="1">
            <a:off x="3658543" y="1713126"/>
            <a:ext cx="20435" cy="302248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zövegdoboz 20">
            <a:extLst>
              <a:ext uri="{FF2B5EF4-FFF2-40B4-BE49-F238E27FC236}">
                <a16:creationId xmlns="" xmlns:a16="http://schemas.microsoft.com/office/drawing/2014/main" id="{FDA4DBF2-00A8-427D-BD19-8A6B80390FD1}"/>
              </a:ext>
            </a:extLst>
          </p:cNvPr>
          <p:cNvSpPr txBox="1"/>
          <p:nvPr/>
        </p:nvSpPr>
        <p:spPr>
          <a:xfrm>
            <a:off x="3452813" y="3795712"/>
            <a:ext cx="912019" cy="698589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FF0000"/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hu-HU" sz="788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ósság-arány </a:t>
            </a:r>
            <a:r>
              <a:rPr lang="hu-HU" sz="788" b="1" i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vulás</a:t>
            </a:r>
            <a:r>
              <a:rPr lang="hu-HU" sz="788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788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-tizációs</a:t>
            </a:r>
            <a:r>
              <a:rPr lang="hu-HU" sz="788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rás bevonása nélkül!</a:t>
            </a:r>
          </a:p>
        </p:txBody>
      </p:sp>
      <p:sp>
        <p:nvSpPr>
          <p:cNvPr id="35" name="Lefelé nyíl 34">
            <a:extLst>
              <a:ext uri="{FF2B5EF4-FFF2-40B4-BE49-F238E27FC236}">
                <a16:creationId xmlns="" xmlns:a16="http://schemas.microsoft.com/office/drawing/2014/main" id="{048A6E7D-CE3A-4638-9F96-DCFB547955A5}"/>
              </a:ext>
            </a:extLst>
          </p:cNvPr>
          <p:cNvSpPr/>
          <p:nvPr/>
        </p:nvSpPr>
        <p:spPr>
          <a:xfrm>
            <a:off x="2938169" y="4807935"/>
            <a:ext cx="88106" cy="16192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sz="1013">
              <a:solidFill>
                <a:prstClr val="white"/>
              </a:solidFill>
            </a:endParaRPr>
          </a:p>
        </p:txBody>
      </p:sp>
      <p:sp>
        <p:nvSpPr>
          <p:cNvPr id="38" name="Lefelé nyíl 37">
            <a:extLst>
              <a:ext uri="{FF2B5EF4-FFF2-40B4-BE49-F238E27FC236}">
                <a16:creationId xmlns="" xmlns:a16="http://schemas.microsoft.com/office/drawing/2014/main" id="{CD9B2CB9-0318-48CF-B3BE-60129EE5E360}"/>
              </a:ext>
            </a:extLst>
          </p:cNvPr>
          <p:cNvSpPr/>
          <p:nvPr/>
        </p:nvSpPr>
        <p:spPr>
          <a:xfrm>
            <a:off x="3618264" y="4758928"/>
            <a:ext cx="88106" cy="16192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sz="1013">
              <a:solidFill>
                <a:prstClr val="white"/>
              </a:solidFill>
            </a:endParaRPr>
          </a:p>
        </p:txBody>
      </p:sp>
      <p:sp>
        <p:nvSpPr>
          <p:cNvPr id="45" name="Szövegdoboz 1">
            <a:extLst>
              <a:ext uri="{FF2B5EF4-FFF2-40B4-BE49-F238E27FC236}">
                <a16:creationId xmlns="" xmlns:a16="http://schemas.microsoft.com/office/drawing/2014/main" id="{2DC5E6E7-A4AD-4966-9ED8-0649FA7A31D9}"/>
              </a:ext>
            </a:extLst>
          </p:cNvPr>
          <p:cNvSpPr txBox="1"/>
          <p:nvPr/>
        </p:nvSpPr>
        <p:spPr>
          <a:xfrm>
            <a:off x="1176337" y="5344284"/>
            <a:ext cx="902494" cy="217885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hu-HU" sz="7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9,3 %-os többség</a:t>
            </a:r>
          </a:p>
        </p:txBody>
      </p:sp>
      <p:sp>
        <p:nvSpPr>
          <p:cNvPr id="46" name="Szövegdoboz 2">
            <a:extLst>
              <a:ext uri="{FF2B5EF4-FFF2-40B4-BE49-F238E27FC236}">
                <a16:creationId xmlns="" xmlns:a16="http://schemas.microsoft.com/office/drawing/2014/main" id="{EEC7E1D6-0ED4-44C3-A282-C7431DCDCE29}"/>
              </a:ext>
            </a:extLst>
          </p:cNvPr>
          <p:cNvSpPr txBox="1"/>
          <p:nvPr/>
        </p:nvSpPr>
        <p:spPr>
          <a:xfrm>
            <a:off x="2127051" y="5350832"/>
            <a:ext cx="894159" cy="204788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hu-HU" sz="788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2 %-os többség</a:t>
            </a:r>
          </a:p>
        </p:txBody>
      </p:sp>
      <p:sp>
        <p:nvSpPr>
          <p:cNvPr id="47" name="Szövegdoboz 3">
            <a:extLst>
              <a:ext uri="{FF2B5EF4-FFF2-40B4-BE49-F238E27FC236}">
                <a16:creationId xmlns="" xmlns:a16="http://schemas.microsoft.com/office/drawing/2014/main" id="{EDEE3665-45E0-4E22-8070-B74706A318FF}"/>
              </a:ext>
            </a:extLst>
          </p:cNvPr>
          <p:cNvSpPr txBox="1"/>
          <p:nvPr/>
        </p:nvSpPr>
        <p:spPr>
          <a:xfrm>
            <a:off x="3022767" y="5349478"/>
            <a:ext cx="683603" cy="170145"/>
          </a:xfrm>
          <a:prstGeom prst="rect">
            <a:avLst/>
          </a:prstGeom>
          <a:solidFill>
            <a:srgbClr val="FFC000"/>
          </a:solidFill>
          <a:ln w="28575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hu-HU" sz="8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4 %-os többség</a:t>
            </a:r>
          </a:p>
        </p:txBody>
      </p:sp>
      <p:sp>
        <p:nvSpPr>
          <p:cNvPr id="48" name="Szövegdoboz 4">
            <a:extLst>
              <a:ext uri="{FF2B5EF4-FFF2-40B4-BE49-F238E27FC236}">
                <a16:creationId xmlns="" xmlns:a16="http://schemas.microsoft.com/office/drawing/2014/main" id="{FEAD3A0C-CCBA-4100-A460-ACD2312123DF}"/>
              </a:ext>
            </a:extLst>
          </p:cNvPr>
          <p:cNvSpPr txBox="1"/>
          <p:nvPr/>
        </p:nvSpPr>
        <p:spPr>
          <a:xfrm>
            <a:off x="3742742" y="5340117"/>
            <a:ext cx="992836" cy="215503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hu-HU" sz="825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1 %-os többség</a:t>
            </a:r>
          </a:p>
        </p:txBody>
      </p:sp>
      <p:sp>
        <p:nvSpPr>
          <p:cNvPr id="49" name="Szövegdoboz 5">
            <a:extLst>
              <a:ext uri="{FF2B5EF4-FFF2-40B4-BE49-F238E27FC236}">
                <a16:creationId xmlns="" xmlns:a16="http://schemas.microsoft.com/office/drawing/2014/main" id="{AB067725-F07C-415A-A2DB-139DD3F4ABDE}"/>
              </a:ext>
            </a:extLst>
          </p:cNvPr>
          <p:cNvSpPr txBox="1"/>
          <p:nvPr/>
        </p:nvSpPr>
        <p:spPr>
          <a:xfrm>
            <a:off x="4791852" y="5349507"/>
            <a:ext cx="890871" cy="213122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hu-HU" sz="788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3 %-os többség</a:t>
            </a:r>
            <a:endParaRPr lang="hu-HU" sz="788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Ellipszis 49">
            <a:extLst>
              <a:ext uri="{FF2B5EF4-FFF2-40B4-BE49-F238E27FC236}">
                <a16:creationId xmlns="" xmlns:a16="http://schemas.microsoft.com/office/drawing/2014/main" id="{2F2E3D82-5537-49DC-A199-A317DBFA3C51}"/>
              </a:ext>
            </a:extLst>
          </p:cNvPr>
          <p:cNvSpPr/>
          <p:nvPr/>
        </p:nvSpPr>
        <p:spPr>
          <a:xfrm>
            <a:off x="1743075" y="4002881"/>
            <a:ext cx="1662113" cy="85844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hu-HU" sz="825" b="1">
                <a:solidFill>
                  <a:srgbClr val="0000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ósság-arány </a:t>
            </a:r>
          </a:p>
          <a:p>
            <a:pPr algn="ctr">
              <a:defRPr/>
            </a:pPr>
            <a:r>
              <a:rPr lang="hu-HU" sz="825" b="1" i="1">
                <a:solidFill>
                  <a:srgbClr val="0000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vulás</a:t>
            </a:r>
            <a:r>
              <a:rPr lang="hu-HU" sz="825" b="1">
                <a:solidFill>
                  <a:srgbClr val="0000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integy </a:t>
            </a:r>
          </a:p>
          <a:p>
            <a:pPr algn="ctr">
              <a:defRPr/>
            </a:pPr>
            <a:r>
              <a:rPr lang="hu-HU" sz="825" b="1">
                <a:solidFill>
                  <a:srgbClr val="0000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0 Mrd nemzeti vagyon </a:t>
            </a:r>
          </a:p>
          <a:p>
            <a:pPr algn="ctr">
              <a:defRPr/>
            </a:pPr>
            <a:r>
              <a:rPr lang="hu-HU" sz="825" b="1">
                <a:solidFill>
                  <a:srgbClr val="0000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rtékestése árán!</a:t>
            </a:r>
            <a:endParaRPr lang="hu-HU" sz="825" b="1" dirty="0">
              <a:solidFill>
                <a:srgbClr val="00007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4" name="Egyenes összekötő 53">
            <a:extLst>
              <a:ext uri="{FF2B5EF4-FFF2-40B4-BE49-F238E27FC236}">
                <a16:creationId xmlns="" xmlns:a16="http://schemas.microsoft.com/office/drawing/2014/main" id="{00D343B2-77F4-4C40-ACA4-FF8533F22B7F}"/>
              </a:ext>
            </a:extLst>
          </p:cNvPr>
          <p:cNvCxnSpPr>
            <a:cxnSpLocks/>
          </p:cNvCxnSpPr>
          <p:nvPr/>
        </p:nvCxnSpPr>
        <p:spPr>
          <a:xfrm flipV="1">
            <a:off x="4779179" y="1786900"/>
            <a:ext cx="2381" cy="192881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Egyenes összekötő 3">
            <a:extLst>
              <a:ext uri="{FF2B5EF4-FFF2-40B4-BE49-F238E27FC236}">
                <a16:creationId xmlns="" xmlns:a16="http://schemas.microsoft.com/office/drawing/2014/main" id="{B19E2661-7503-41DA-ADA2-296A2CD7BD66}"/>
              </a:ext>
            </a:extLst>
          </p:cNvPr>
          <p:cNvCxnSpPr>
            <a:cxnSpLocks/>
          </p:cNvCxnSpPr>
          <p:nvPr/>
        </p:nvCxnSpPr>
        <p:spPr>
          <a:xfrm>
            <a:off x="6576053" y="2296151"/>
            <a:ext cx="11907" cy="237003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Nyíl: lefelé mutató 11">
            <a:extLst>
              <a:ext uri="{FF2B5EF4-FFF2-40B4-BE49-F238E27FC236}">
                <a16:creationId xmlns="" xmlns:a16="http://schemas.microsoft.com/office/drawing/2014/main" id="{F3C900E8-E767-436C-949B-63BD2B0A26AE}"/>
              </a:ext>
            </a:extLst>
          </p:cNvPr>
          <p:cNvSpPr/>
          <p:nvPr/>
        </p:nvSpPr>
        <p:spPr>
          <a:xfrm>
            <a:off x="6572916" y="4731728"/>
            <a:ext cx="98822" cy="21312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sz="1350"/>
          </a:p>
        </p:txBody>
      </p:sp>
      <p:cxnSp>
        <p:nvCxnSpPr>
          <p:cNvPr id="28" name="Egyenes összekötő 27">
            <a:extLst>
              <a:ext uri="{FF2B5EF4-FFF2-40B4-BE49-F238E27FC236}">
                <a16:creationId xmlns="" xmlns:a16="http://schemas.microsoft.com/office/drawing/2014/main" id="{C7152AD5-5BA0-4A96-BA63-7E278B98C37D}"/>
              </a:ext>
            </a:extLst>
          </p:cNvPr>
          <p:cNvCxnSpPr>
            <a:cxnSpLocks/>
          </p:cNvCxnSpPr>
          <p:nvPr/>
        </p:nvCxnSpPr>
        <p:spPr>
          <a:xfrm>
            <a:off x="4766295" y="4478506"/>
            <a:ext cx="7907" cy="23980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Lefelé nyíl 18"/>
          <p:cNvSpPr/>
          <p:nvPr/>
        </p:nvSpPr>
        <p:spPr>
          <a:xfrm>
            <a:off x="7479264" y="4758928"/>
            <a:ext cx="105445" cy="19288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cxnSp>
        <p:nvCxnSpPr>
          <p:cNvPr id="26" name="Egyenes összekötő 25"/>
          <p:cNvCxnSpPr>
            <a:stCxn id="23" idx="3"/>
            <a:endCxn id="23" idx="3"/>
          </p:cNvCxnSpPr>
          <p:nvPr/>
        </p:nvCxnSpPr>
        <p:spPr>
          <a:xfrm>
            <a:off x="7259542" y="1732486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Jobbra nyíl 28"/>
          <p:cNvSpPr/>
          <p:nvPr/>
        </p:nvSpPr>
        <p:spPr>
          <a:xfrm>
            <a:off x="1247163" y="5542931"/>
            <a:ext cx="1691006" cy="484632"/>
          </a:xfrm>
          <a:prstGeom prst="rightArrow">
            <a:avLst/>
          </a:prstGeom>
          <a:solidFill>
            <a:srgbClr val="B36FC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/>
              <a:t>Jelentős munkanélküliség</a:t>
            </a:r>
          </a:p>
        </p:txBody>
      </p:sp>
      <p:sp>
        <p:nvSpPr>
          <p:cNvPr id="55" name="Jobbra nyíl 54"/>
          <p:cNvSpPr/>
          <p:nvPr/>
        </p:nvSpPr>
        <p:spPr>
          <a:xfrm>
            <a:off x="4275534" y="5561927"/>
            <a:ext cx="1823211" cy="484632"/>
          </a:xfrm>
          <a:prstGeom prst="rightArrow">
            <a:avLst>
              <a:gd name="adj1" fmla="val 60991"/>
              <a:gd name="adj2" fmla="val 50000"/>
            </a:avLst>
          </a:prstGeom>
          <a:solidFill>
            <a:srgbClr val="B36FC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dirty="0"/>
              <a:t>Jelentős munkanélküliség</a:t>
            </a:r>
          </a:p>
        </p:txBody>
      </p:sp>
      <p:sp>
        <p:nvSpPr>
          <p:cNvPr id="30" name="Jobbra nyíl 29"/>
          <p:cNvSpPr/>
          <p:nvPr/>
        </p:nvSpPr>
        <p:spPr>
          <a:xfrm>
            <a:off x="7106843" y="5569532"/>
            <a:ext cx="998470" cy="467920"/>
          </a:xfrm>
          <a:prstGeom prst="rightArrow">
            <a:avLst>
              <a:gd name="adj1" fmla="val 68972"/>
              <a:gd name="adj2" fmla="val 50000"/>
            </a:avLst>
          </a:prstGeom>
          <a:solidFill>
            <a:srgbClr val="79B78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100" dirty="0"/>
              <a:t>Munkaerő hiány</a:t>
            </a:r>
          </a:p>
        </p:txBody>
      </p:sp>
      <p:sp>
        <p:nvSpPr>
          <p:cNvPr id="16384" name="Lefelé nyíl 16383"/>
          <p:cNvSpPr/>
          <p:nvPr/>
        </p:nvSpPr>
        <p:spPr>
          <a:xfrm rot="16200000">
            <a:off x="6322419" y="5303243"/>
            <a:ext cx="484632" cy="1034953"/>
          </a:xfrm>
          <a:prstGeom prst="downArrow">
            <a:avLst>
              <a:gd name="adj1" fmla="val 57328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hu-HU" sz="1100" dirty="0"/>
              <a:t>Teljes foglalkoztatás</a:t>
            </a:r>
          </a:p>
        </p:txBody>
      </p:sp>
      <p:sp>
        <p:nvSpPr>
          <p:cNvPr id="3099" name="Szövegdoboz 1"/>
          <p:cNvSpPr txBox="1">
            <a:spLocks noChangeArrowheads="1"/>
          </p:cNvSpPr>
          <p:nvPr/>
        </p:nvSpPr>
        <p:spPr bwMode="auto">
          <a:xfrm>
            <a:off x="4166010" y="1447933"/>
            <a:ext cx="750094" cy="1223412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hu-HU" altLang="hu-HU" sz="1050">
                <a:solidFill>
                  <a:srgbClr val="000000"/>
                </a:solidFill>
              </a:rPr>
              <a:t>Nagymér-tékű fiskális lazítás és sikertelen korrekciós kísérletek</a:t>
            </a:r>
          </a:p>
        </p:txBody>
      </p:sp>
    </p:spTree>
    <p:extLst>
      <p:ext uri="{BB962C8B-B14F-4D97-AF65-F5344CB8AC3E}">
        <p14:creationId xmlns:p14="http://schemas.microsoft.com/office/powerpoint/2010/main" xmlns="" val="2760868369"/>
      </p:ext>
    </p:extLst>
  </p:cSld>
  <p:clrMapOvr>
    <a:masterClrMapping/>
  </p:clrMapOvr>
  <p:transition spd="slow" advClick="0" advTm="30000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ép 1" descr="2004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9901" y="2198665"/>
            <a:ext cx="4499992" cy="2958527"/>
          </a:xfrm>
          <a:prstGeom prst="rect">
            <a:avLst/>
          </a:prstGeom>
        </p:spPr>
      </p:pic>
      <p:sp>
        <p:nvSpPr>
          <p:cNvPr id="12" name="Ellipszis 11"/>
          <p:cNvSpPr/>
          <p:nvPr/>
        </p:nvSpPr>
        <p:spPr>
          <a:xfrm>
            <a:off x="1298339" y="3325813"/>
            <a:ext cx="141514" cy="148058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3" name="Kép 2" descr="2017j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530550" y="2204864"/>
            <a:ext cx="4613449" cy="2952328"/>
          </a:xfrm>
          <a:prstGeom prst="rect">
            <a:avLst/>
          </a:prstGeom>
        </p:spPr>
      </p:pic>
      <p:pic>
        <p:nvPicPr>
          <p:cNvPr id="4" name="Kép 3" descr="jelma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419872" y="5445224"/>
            <a:ext cx="2566477" cy="1174626"/>
          </a:xfrm>
          <a:prstGeom prst="rect">
            <a:avLst/>
          </a:prstGeom>
        </p:spPr>
      </p:pic>
      <p:sp>
        <p:nvSpPr>
          <p:cNvPr id="5" name="Szövegdoboz 4"/>
          <p:cNvSpPr txBox="1"/>
          <p:nvPr/>
        </p:nvSpPr>
        <p:spPr>
          <a:xfrm>
            <a:off x="1979712" y="1772816"/>
            <a:ext cx="8640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dirty="0">
                <a:latin typeface="Arial" pitchFamily="34" charset="0"/>
                <a:cs typeface="Arial" pitchFamily="34" charset="0"/>
              </a:rPr>
              <a:t>2004</a:t>
            </a:r>
          </a:p>
        </p:txBody>
      </p:sp>
      <p:sp>
        <p:nvSpPr>
          <p:cNvPr id="6" name="Szövegdoboz 5"/>
          <p:cNvSpPr txBox="1"/>
          <p:nvPr/>
        </p:nvSpPr>
        <p:spPr>
          <a:xfrm>
            <a:off x="6732240" y="1772816"/>
            <a:ext cx="8640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dirty="0">
                <a:latin typeface="Arial" pitchFamily="34" charset="0"/>
                <a:cs typeface="Arial" pitchFamily="34" charset="0"/>
              </a:rPr>
              <a:t>2017</a:t>
            </a:r>
          </a:p>
        </p:txBody>
      </p:sp>
      <p:sp>
        <p:nvSpPr>
          <p:cNvPr id="7" name="Cím 1"/>
          <p:cNvSpPr txBox="1">
            <a:spLocks/>
          </p:cNvSpPr>
          <p:nvPr/>
        </p:nvSpPr>
        <p:spPr>
          <a:xfrm>
            <a:off x="245759" y="1088894"/>
            <a:ext cx="8573351" cy="413624"/>
          </a:xfrm>
          <a:prstGeom prst="rect">
            <a:avLst/>
          </a:prstGeom>
        </p:spPr>
        <p:txBody>
          <a:bodyPr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sz="1350" b="1" dirty="0">
                <a:latin typeface="Arial" panose="020B0604020202020204" pitchFamily="34" charset="0"/>
                <a:cs typeface="Arial" panose="020B0604020202020204" pitchFamily="34" charset="0"/>
              </a:rPr>
              <a:t>A Kárpát-medence NUTS 2 szintű régióinak fejlettségi szintje (PPP-n mért GDP/fő) az EU átlagához viszonyítva a kohéziós politika besorolása alapján 2004-ben és 2017-ben</a:t>
            </a:r>
          </a:p>
        </p:txBody>
      </p:sp>
      <p:sp>
        <p:nvSpPr>
          <p:cNvPr id="8" name="Szövegdoboz 7"/>
          <p:cNvSpPr txBox="1"/>
          <p:nvPr/>
        </p:nvSpPr>
        <p:spPr>
          <a:xfrm>
            <a:off x="125043" y="51728"/>
            <a:ext cx="90189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hu-HU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tervezési statisztikai régióink fejlődését tekintve jól látható a szerény </a:t>
            </a:r>
            <a:r>
              <a:rPr lang="hu-HU" b="1" dirty="0" err="1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közele-dés</a:t>
            </a:r>
            <a:r>
              <a:rPr lang="hu-HU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az EU növekvő átlagos fejlettségi szintjéhez, de bőven vannak még </a:t>
            </a:r>
            <a:r>
              <a:rPr lang="hu-HU" b="1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eendő-ink</a:t>
            </a:r>
            <a:r>
              <a:rPr lang="hu-HU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, látva a szomszédos országok határmenti térségeinek gyorsabb előrelépését</a:t>
            </a:r>
          </a:p>
        </p:txBody>
      </p:sp>
      <p:sp>
        <p:nvSpPr>
          <p:cNvPr id="9" name="Szövegdoboz 8"/>
          <p:cNvSpPr txBox="1"/>
          <p:nvPr/>
        </p:nvSpPr>
        <p:spPr>
          <a:xfrm>
            <a:off x="126389" y="5761434"/>
            <a:ext cx="402193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i="1" dirty="0">
                <a:latin typeface="Arial" panose="020B0604020202020204" pitchFamily="34" charset="0"/>
                <a:cs typeface="Arial" panose="020B0604020202020204" pitchFamily="34" charset="0"/>
              </a:rPr>
              <a:t>Forrás: Eurostat alapján KT Titkársága szerkesztés</a:t>
            </a:r>
            <a:endParaRPr lang="hu-HU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zövegdoboz 9"/>
          <p:cNvSpPr txBox="1"/>
          <p:nvPr/>
        </p:nvSpPr>
        <p:spPr>
          <a:xfrm>
            <a:off x="456783" y="2554315"/>
            <a:ext cx="6468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Bécs</a:t>
            </a:r>
          </a:p>
        </p:txBody>
      </p:sp>
      <p:sp>
        <p:nvSpPr>
          <p:cNvPr id="11" name="Szövegdoboz 10"/>
          <p:cNvSpPr txBox="1"/>
          <p:nvPr/>
        </p:nvSpPr>
        <p:spPr>
          <a:xfrm>
            <a:off x="4919922" y="2545462"/>
            <a:ext cx="6468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Bécs</a:t>
            </a:r>
          </a:p>
        </p:txBody>
      </p:sp>
      <p:sp>
        <p:nvSpPr>
          <p:cNvPr id="13" name="Ellipszis 12"/>
          <p:cNvSpPr/>
          <p:nvPr/>
        </p:nvSpPr>
        <p:spPr>
          <a:xfrm>
            <a:off x="5844835" y="3251784"/>
            <a:ext cx="141514" cy="148058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4" name="Szövegdoboz 13"/>
          <p:cNvSpPr txBox="1"/>
          <p:nvPr/>
        </p:nvSpPr>
        <p:spPr>
          <a:xfrm>
            <a:off x="1298339" y="2344899"/>
            <a:ext cx="7971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Pozsony</a:t>
            </a:r>
          </a:p>
        </p:txBody>
      </p:sp>
      <p:sp>
        <p:nvSpPr>
          <p:cNvPr id="15" name="Szövegdoboz 14"/>
          <p:cNvSpPr txBox="1"/>
          <p:nvPr/>
        </p:nvSpPr>
        <p:spPr>
          <a:xfrm>
            <a:off x="5844835" y="2366197"/>
            <a:ext cx="7971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Pozsony</a:t>
            </a:r>
          </a:p>
        </p:txBody>
      </p:sp>
      <p:sp>
        <p:nvSpPr>
          <p:cNvPr id="16" name="Szövegdoboz 15"/>
          <p:cNvSpPr txBox="1"/>
          <p:nvPr/>
        </p:nvSpPr>
        <p:spPr>
          <a:xfrm>
            <a:off x="1713822" y="2048345"/>
            <a:ext cx="9483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Budapest</a:t>
            </a:r>
          </a:p>
        </p:txBody>
      </p:sp>
      <p:sp>
        <p:nvSpPr>
          <p:cNvPr id="17" name="Szövegdoboz 16"/>
          <p:cNvSpPr txBox="1"/>
          <p:nvPr/>
        </p:nvSpPr>
        <p:spPr>
          <a:xfrm>
            <a:off x="6215978" y="2034426"/>
            <a:ext cx="9483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Budapest</a:t>
            </a:r>
          </a:p>
        </p:txBody>
      </p:sp>
    </p:spTree>
    <p:extLst>
      <p:ext uri="{BB962C8B-B14F-4D97-AF65-F5344CB8AC3E}">
        <p14:creationId xmlns:p14="http://schemas.microsoft.com/office/powerpoint/2010/main" xmlns="" val="23083264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016" name="Tartalom helye 2"/>
          <p:cNvSpPr txBox="1">
            <a:spLocks/>
          </p:cNvSpPr>
          <p:nvPr/>
        </p:nvSpPr>
        <p:spPr bwMode="auto">
          <a:xfrm>
            <a:off x="152048" y="2493169"/>
            <a:ext cx="5817566" cy="3802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435" tIns="25718" rIns="51435" bIns="25718"/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algn="just">
              <a:buNone/>
            </a:pPr>
            <a:endParaRPr lang="hu-HU" altLang="hu-HU" sz="750" dirty="0"/>
          </a:p>
        </p:txBody>
      </p:sp>
      <p:graphicFrame>
        <p:nvGraphicFramePr>
          <p:cNvPr id="171010" name="Objektum 52" hidden="1"/>
          <p:cNvGraphicFramePr>
            <a:graphicFrameLocks noChangeAspect="1"/>
          </p:cNvGraphicFramePr>
          <p:nvPr/>
        </p:nvGraphicFramePr>
        <p:xfrm>
          <a:off x="1787130" y="1501380"/>
          <a:ext cx="1190" cy="1190"/>
        </p:xfrm>
        <a:graphic>
          <a:graphicData uri="http://schemas.openxmlformats.org/presentationml/2006/ole">
            <p:oleObj spid="_x0000_s3184" name="think-cell Slide" r:id="rId3" imgW="360" imgH="360" progId="">
              <p:embed/>
            </p:oleObj>
          </a:graphicData>
        </a:graphic>
      </p:graphicFrame>
      <p:sp>
        <p:nvSpPr>
          <p:cNvPr id="62" name="Ellipszis 61"/>
          <p:cNvSpPr/>
          <p:nvPr/>
        </p:nvSpPr>
        <p:spPr>
          <a:xfrm>
            <a:off x="6067426" y="3830242"/>
            <a:ext cx="941785" cy="1402556"/>
          </a:xfrm>
          <a:prstGeom prst="ellipse">
            <a:avLst/>
          </a:prstGeom>
          <a:solidFill>
            <a:srgbClr val="99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sz="1575"/>
          </a:p>
        </p:txBody>
      </p:sp>
      <p:sp>
        <p:nvSpPr>
          <p:cNvPr id="54" name="Ellipszis 53"/>
          <p:cNvSpPr/>
          <p:nvPr/>
        </p:nvSpPr>
        <p:spPr>
          <a:xfrm>
            <a:off x="6010275" y="2871642"/>
            <a:ext cx="910829" cy="896686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sz="1575"/>
          </a:p>
        </p:txBody>
      </p:sp>
      <p:sp>
        <p:nvSpPr>
          <p:cNvPr id="52" name="Folyamatábra: Feldolgozás 51"/>
          <p:cNvSpPr/>
          <p:nvPr/>
        </p:nvSpPr>
        <p:spPr>
          <a:xfrm>
            <a:off x="12695635" y="3895726"/>
            <a:ext cx="69056" cy="226219"/>
          </a:xfrm>
          <a:prstGeom prst="flowChart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sz="1575"/>
          </a:p>
        </p:txBody>
      </p:sp>
      <p:sp>
        <p:nvSpPr>
          <p:cNvPr id="4" name="Cím 1"/>
          <p:cNvSpPr txBox="1">
            <a:spLocks/>
          </p:cNvSpPr>
          <p:nvPr/>
        </p:nvSpPr>
        <p:spPr bwMode="auto">
          <a:xfrm>
            <a:off x="35720" y="46275"/>
            <a:ext cx="9065417" cy="1389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Kockázatos a világ, számos ország van ellentmondásos helyzetben, de 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általános vélekedés szerint 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lényegi, kedvezőtlen változásokra néhány évig még nem kell számítani, de tartalékolni kell, mert szükségszerűen 2021-2022 körül – ha „kisebb hullámokkal” is mint 2007-2008-ban – már növekvő nehézségekkel kell számolni.</a:t>
            </a:r>
          </a:p>
        </p:txBody>
      </p:sp>
      <p:sp>
        <p:nvSpPr>
          <p:cNvPr id="6" name="Sávnyíl 5"/>
          <p:cNvSpPr/>
          <p:nvPr/>
        </p:nvSpPr>
        <p:spPr>
          <a:xfrm>
            <a:off x="2827736" y="2027236"/>
            <a:ext cx="1483519" cy="3147221"/>
          </a:xfrm>
          <a:prstGeom prst="chevron">
            <a:avLst>
              <a:gd name="adj" fmla="val 16370"/>
            </a:avLst>
          </a:prstGeom>
          <a:solidFill>
            <a:schemeClr val="accent3">
              <a:lumMod val="6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sz="1575" dirty="0">
              <a:solidFill>
                <a:schemeClr val="tx1"/>
              </a:solidFill>
            </a:endParaRPr>
          </a:p>
        </p:txBody>
      </p:sp>
      <p:cxnSp>
        <p:nvCxnSpPr>
          <p:cNvPr id="10" name="Egyenes összekötő 9"/>
          <p:cNvCxnSpPr/>
          <p:nvPr/>
        </p:nvCxnSpPr>
        <p:spPr>
          <a:xfrm>
            <a:off x="1821657" y="4202906"/>
            <a:ext cx="1092994" cy="0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Egyenes összekötő 10"/>
          <p:cNvCxnSpPr/>
          <p:nvPr/>
        </p:nvCxnSpPr>
        <p:spPr>
          <a:xfrm>
            <a:off x="1821657" y="3205163"/>
            <a:ext cx="1092994" cy="0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Egyenes összekötő 11"/>
          <p:cNvCxnSpPr/>
          <p:nvPr/>
        </p:nvCxnSpPr>
        <p:spPr>
          <a:xfrm>
            <a:off x="3022997" y="4212431"/>
            <a:ext cx="1094184" cy="0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Egyenes összekötő 12"/>
          <p:cNvCxnSpPr/>
          <p:nvPr/>
        </p:nvCxnSpPr>
        <p:spPr>
          <a:xfrm>
            <a:off x="3022997" y="3207544"/>
            <a:ext cx="1094184" cy="0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Ötszög 16"/>
          <p:cNvSpPr/>
          <p:nvPr/>
        </p:nvSpPr>
        <p:spPr>
          <a:xfrm>
            <a:off x="3022998" y="2243139"/>
            <a:ext cx="1187053" cy="608410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1350" b="1" dirty="0">
                <a:solidFill>
                  <a:schemeClr val="bg1"/>
                </a:solidFill>
                <a:latin typeface="+mj-lt"/>
              </a:rPr>
              <a:t>Nagyon magas adósság</a:t>
            </a:r>
            <a:endParaRPr lang="en-US" sz="135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0" name="Folyamatábra: Feldolgozás 29"/>
          <p:cNvSpPr/>
          <p:nvPr/>
        </p:nvSpPr>
        <p:spPr>
          <a:xfrm>
            <a:off x="1432324" y="3225404"/>
            <a:ext cx="1446609" cy="951309"/>
          </a:xfrm>
          <a:prstGeom prst="flowChartProcess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sz="1575">
              <a:solidFill>
                <a:schemeClr val="tx1"/>
              </a:solidFill>
            </a:endParaRPr>
          </a:p>
        </p:txBody>
      </p:sp>
      <p:sp>
        <p:nvSpPr>
          <p:cNvPr id="32" name="Háromszög 31"/>
          <p:cNvSpPr/>
          <p:nvPr/>
        </p:nvSpPr>
        <p:spPr>
          <a:xfrm rot="5400000">
            <a:off x="2502099" y="3637956"/>
            <a:ext cx="952500" cy="153590"/>
          </a:xfrm>
          <a:prstGeom prst="triangle">
            <a:avLst/>
          </a:prstGeom>
          <a:solidFill>
            <a:schemeClr val="accent4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sz="1575">
              <a:solidFill>
                <a:schemeClr val="tx1"/>
              </a:solidFill>
            </a:endParaRPr>
          </a:p>
        </p:txBody>
      </p:sp>
      <p:sp>
        <p:nvSpPr>
          <p:cNvPr id="33" name="Ötszög 32"/>
          <p:cNvSpPr/>
          <p:nvPr/>
        </p:nvSpPr>
        <p:spPr>
          <a:xfrm>
            <a:off x="1725219" y="3361536"/>
            <a:ext cx="1187053" cy="607219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1350" b="1" dirty="0">
                <a:solidFill>
                  <a:schemeClr val="accent5">
                    <a:lumMod val="25000"/>
                  </a:schemeClr>
                </a:solidFill>
                <a:latin typeface="+mj-lt"/>
              </a:rPr>
              <a:t>Rossz demográfiai kilátások</a:t>
            </a:r>
            <a:endParaRPr lang="en-US" sz="1350" b="1" dirty="0">
              <a:solidFill>
                <a:schemeClr val="accent5">
                  <a:lumMod val="25000"/>
                </a:schemeClr>
              </a:solidFill>
              <a:latin typeface="+mj-lt"/>
            </a:endParaRPr>
          </a:p>
        </p:txBody>
      </p:sp>
      <p:sp>
        <p:nvSpPr>
          <p:cNvPr id="34" name="Ötszög 33"/>
          <p:cNvSpPr/>
          <p:nvPr/>
        </p:nvSpPr>
        <p:spPr>
          <a:xfrm>
            <a:off x="3022998" y="3377804"/>
            <a:ext cx="1187053" cy="608409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1350" b="1" dirty="0">
                <a:solidFill>
                  <a:schemeClr val="bg1"/>
                </a:solidFill>
                <a:latin typeface="+mj-lt"/>
              </a:rPr>
              <a:t>Alacsony növekedés</a:t>
            </a:r>
            <a:endParaRPr lang="en-US" sz="135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5" name="Ötszög 34"/>
          <p:cNvSpPr/>
          <p:nvPr/>
        </p:nvSpPr>
        <p:spPr>
          <a:xfrm>
            <a:off x="3022998" y="4392216"/>
            <a:ext cx="1187053" cy="608409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1350" b="1" dirty="0">
                <a:solidFill>
                  <a:schemeClr val="bg1"/>
                </a:solidFill>
                <a:latin typeface="+mj-lt"/>
              </a:rPr>
              <a:t>Alacsony kamatok</a:t>
            </a:r>
            <a:endParaRPr lang="en-US" sz="135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1028" name="Szövegdoboz 37"/>
          <p:cNvSpPr txBox="1">
            <a:spLocks noChangeArrowheads="1"/>
          </p:cNvSpPr>
          <p:nvPr/>
        </p:nvSpPr>
        <p:spPr bwMode="auto">
          <a:xfrm>
            <a:off x="2553892" y="1784348"/>
            <a:ext cx="1674019" cy="265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hu-HU" altLang="hu-HU" sz="1125" b="1" dirty="0">
                <a:solidFill>
                  <a:srgbClr val="002060"/>
                </a:solidFill>
              </a:rPr>
              <a:t>Kockázatos hármas</a:t>
            </a:r>
          </a:p>
        </p:txBody>
      </p:sp>
      <p:cxnSp>
        <p:nvCxnSpPr>
          <p:cNvPr id="40" name="Egyenes összekötő 39"/>
          <p:cNvCxnSpPr/>
          <p:nvPr/>
        </p:nvCxnSpPr>
        <p:spPr>
          <a:xfrm>
            <a:off x="4243389" y="4163616"/>
            <a:ext cx="1173956" cy="0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Egyenes összekötő 40"/>
          <p:cNvCxnSpPr/>
          <p:nvPr/>
        </p:nvCxnSpPr>
        <p:spPr>
          <a:xfrm>
            <a:off x="4243389" y="3165872"/>
            <a:ext cx="1173956" cy="0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Folyamatábra: Feldolgozás 41"/>
          <p:cNvSpPr/>
          <p:nvPr/>
        </p:nvSpPr>
        <p:spPr>
          <a:xfrm>
            <a:off x="4325793" y="3224518"/>
            <a:ext cx="1240631" cy="857214"/>
          </a:xfrm>
          <a:prstGeom prst="flowChartProcess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sz="1575">
              <a:solidFill>
                <a:schemeClr val="tx1"/>
              </a:solidFill>
            </a:endParaRPr>
          </a:p>
        </p:txBody>
      </p:sp>
      <p:sp>
        <p:nvSpPr>
          <p:cNvPr id="43" name="Háromszög 42"/>
          <p:cNvSpPr/>
          <p:nvPr/>
        </p:nvSpPr>
        <p:spPr>
          <a:xfrm rot="5400000">
            <a:off x="5421082" y="3942582"/>
            <a:ext cx="876300" cy="450056"/>
          </a:xfrm>
          <a:prstGeom prst="triangl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sz="1575">
              <a:solidFill>
                <a:schemeClr val="tx1"/>
              </a:solidFill>
            </a:endParaRPr>
          </a:p>
        </p:txBody>
      </p:sp>
      <p:sp>
        <p:nvSpPr>
          <p:cNvPr id="44" name="Ötszög 43"/>
          <p:cNvSpPr/>
          <p:nvPr/>
        </p:nvSpPr>
        <p:spPr>
          <a:xfrm>
            <a:off x="4335067" y="3377804"/>
            <a:ext cx="1187053" cy="608409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1350" b="1" dirty="0">
                <a:solidFill>
                  <a:srgbClr val="002060"/>
                </a:solidFill>
                <a:latin typeface="+mj-lt"/>
              </a:rPr>
              <a:t>Törékeny bank-rendszer</a:t>
            </a:r>
            <a:endParaRPr lang="en-US" sz="1350" b="1" dirty="0">
              <a:solidFill>
                <a:srgbClr val="002060"/>
              </a:solidFill>
              <a:latin typeface="+mj-lt"/>
            </a:endParaRPr>
          </a:p>
        </p:txBody>
      </p:sp>
      <p:cxnSp>
        <p:nvCxnSpPr>
          <p:cNvPr id="45" name="Egyenes összekötő 44"/>
          <p:cNvCxnSpPr/>
          <p:nvPr/>
        </p:nvCxnSpPr>
        <p:spPr>
          <a:xfrm>
            <a:off x="4255295" y="5200650"/>
            <a:ext cx="1173956" cy="0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Egyenes összekötő 45"/>
          <p:cNvCxnSpPr/>
          <p:nvPr/>
        </p:nvCxnSpPr>
        <p:spPr>
          <a:xfrm>
            <a:off x="4255295" y="4202906"/>
            <a:ext cx="1173956" cy="0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Folyamatábra: Feldolgozás 46"/>
          <p:cNvSpPr/>
          <p:nvPr/>
        </p:nvSpPr>
        <p:spPr>
          <a:xfrm>
            <a:off x="4360069" y="4187429"/>
            <a:ext cx="1225320" cy="951309"/>
          </a:xfrm>
          <a:prstGeom prst="flowChartProcess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sz="1575">
              <a:solidFill>
                <a:schemeClr val="bg1"/>
              </a:solidFill>
            </a:endParaRPr>
          </a:p>
        </p:txBody>
      </p:sp>
      <p:sp>
        <p:nvSpPr>
          <p:cNvPr id="49" name="Ötszög 48"/>
          <p:cNvSpPr/>
          <p:nvPr/>
        </p:nvSpPr>
        <p:spPr>
          <a:xfrm>
            <a:off x="4320780" y="4375547"/>
            <a:ext cx="1187053" cy="608409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1350" b="1" dirty="0">
                <a:solidFill>
                  <a:schemeClr val="bg1"/>
                </a:solidFill>
                <a:latin typeface="+mj-lt"/>
              </a:rPr>
              <a:t>Rendszer-ellenes, EU szkeptikus pártok</a:t>
            </a:r>
            <a:endParaRPr lang="en-US" sz="135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1039" name="Szövegdoboz 49"/>
          <p:cNvSpPr txBox="1">
            <a:spLocks noChangeArrowheads="1"/>
          </p:cNvSpPr>
          <p:nvPr/>
        </p:nvSpPr>
        <p:spPr bwMode="auto">
          <a:xfrm>
            <a:off x="6108667" y="4100393"/>
            <a:ext cx="947738" cy="1061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hu-HU" altLang="hu-HU" sz="900" b="1" dirty="0"/>
              <a:t>Olaszország</a:t>
            </a:r>
          </a:p>
          <a:p>
            <a:pPr algn="ctr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hu-HU" altLang="hu-HU" sz="900" b="1" dirty="0"/>
              <a:t>Portugália</a:t>
            </a:r>
          </a:p>
          <a:p>
            <a:pPr algn="ctr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hu-HU" altLang="hu-HU" sz="900" b="1" dirty="0"/>
              <a:t>Görögország</a:t>
            </a:r>
          </a:p>
          <a:p>
            <a:pPr algn="ctr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hu-HU" altLang="hu-HU" sz="900" b="1" dirty="0"/>
              <a:t>Szlovénia</a:t>
            </a:r>
          </a:p>
          <a:p>
            <a:pPr algn="ctr">
              <a:spcBef>
                <a:spcPct val="0"/>
              </a:spcBef>
              <a:buFontTx/>
              <a:buNone/>
            </a:pPr>
            <a:endParaRPr lang="hu-HU" altLang="hu-HU" sz="900" b="1" dirty="0"/>
          </a:p>
        </p:txBody>
      </p:sp>
      <p:sp>
        <p:nvSpPr>
          <p:cNvPr id="171040" name="Szövegdoboz 50"/>
          <p:cNvSpPr txBox="1">
            <a:spLocks noChangeArrowheads="1"/>
          </p:cNvSpPr>
          <p:nvPr/>
        </p:nvSpPr>
        <p:spPr bwMode="auto">
          <a:xfrm>
            <a:off x="6152040" y="2906347"/>
            <a:ext cx="641747" cy="854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hu-HU" altLang="hu-HU" sz="900" b="1" dirty="0"/>
              <a:t>EU</a:t>
            </a:r>
          </a:p>
          <a:p>
            <a:pPr algn="ctr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hu-HU" altLang="hu-HU" sz="900" b="1" dirty="0"/>
              <a:t>USA</a:t>
            </a:r>
          </a:p>
          <a:p>
            <a:pPr algn="ctr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hu-HU" altLang="hu-HU" sz="900" b="1" dirty="0"/>
              <a:t>Kína</a:t>
            </a:r>
          </a:p>
          <a:p>
            <a:pPr algn="ctr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hu-HU" altLang="hu-HU" sz="900" b="1" dirty="0"/>
              <a:t>Japán</a:t>
            </a:r>
          </a:p>
        </p:txBody>
      </p:sp>
      <p:pic>
        <p:nvPicPr>
          <p:cNvPr id="171041" name="Picture 2" descr="Képtalálat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65170" y="4237587"/>
            <a:ext cx="426077" cy="284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1042" name="Picture 6" descr="https://upload.wikimedia.org/wikipedia/commons/thumb/5/5c/Flag_of_Greece.svg/600px-Flag_of_Greece.sv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76994" y="4554315"/>
            <a:ext cx="439339" cy="292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1043" name="Picture 8" descr="https://upload.wikimedia.org/wikipedia/commons/thumb/0/03/Flag_of_Italy.svg/1280px-Flag_of_Italy.svg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56240" y="3901248"/>
            <a:ext cx="444103" cy="29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1044" name="Picture 10" descr="Képtalálat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78072" y="3579582"/>
            <a:ext cx="397695" cy="27345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71045" name="Picture 12" descr="Képtalálat">
            <a:hlinkClick r:id="rId10"/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69852" y="3280221"/>
            <a:ext cx="388449" cy="273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1046" name="Szövegdoboz 59"/>
          <p:cNvSpPr txBox="1">
            <a:spLocks noChangeArrowheads="1"/>
          </p:cNvSpPr>
          <p:nvPr/>
        </p:nvSpPr>
        <p:spPr bwMode="auto">
          <a:xfrm>
            <a:off x="4242568" y="1525929"/>
            <a:ext cx="4650308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hu-HU" altLang="hu-HU" sz="1200" b="1" dirty="0">
                <a:solidFill>
                  <a:srgbClr val="C00000"/>
                </a:solidFill>
              </a:rPr>
              <a:t>Ázsia: a bankrendszer kerülhet bajba</a:t>
            </a:r>
          </a:p>
          <a:p>
            <a:pPr marL="64294" indent="-64294">
              <a:spcBef>
                <a:spcPct val="0"/>
              </a:spcBef>
            </a:pPr>
            <a:r>
              <a:rPr lang="hu-HU" altLang="hu-HU" sz="1200" b="1" dirty="0">
                <a:solidFill>
                  <a:srgbClr val="C00000"/>
                </a:solidFill>
              </a:rPr>
              <a:t>EU: Brexit miatti bizonytalanság, de újrainduló növekedés, Németország: változó konjunkturális kilátások, s ezáltal nálunk is!</a:t>
            </a:r>
          </a:p>
          <a:p>
            <a:pPr marL="64294" indent="-64294">
              <a:spcBef>
                <a:spcPct val="0"/>
              </a:spcBef>
            </a:pPr>
            <a:r>
              <a:rPr lang="hu-HU" altLang="hu-HU" sz="1200" b="1" dirty="0">
                <a:solidFill>
                  <a:srgbClr val="C00000"/>
                </a:solidFill>
              </a:rPr>
              <a:t>Dél-Európa: a bank- és a politikai rendszer is recseg-ropog</a:t>
            </a:r>
          </a:p>
          <a:p>
            <a:pPr>
              <a:spcBef>
                <a:spcPct val="0"/>
              </a:spcBef>
            </a:pPr>
            <a:r>
              <a:rPr lang="hu-HU" altLang="hu-HU" sz="1200" b="1" dirty="0">
                <a:solidFill>
                  <a:srgbClr val="C00000"/>
                </a:solidFill>
              </a:rPr>
              <a:t>USA: politikai kockázat, de visszatérő növekedés</a:t>
            </a:r>
          </a:p>
          <a:p>
            <a:pPr marL="64294" indent="-64294">
              <a:spcBef>
                <a:spcPct val="0"/>
              </a:spcBef>
            </a:pPr>
            <a:r>
              <a:rPr lang="hu-HU" altLang="hu-HU" sz="1200" b="1" dirty="0">
                <a:solidFill>
                  <a:srgbClr val="C00000"/>
                </a:solidFill>
              </a:rPr>
              <a:t>Kína: fennmarad az európaihoz </a:t>
            </a:r>
            <a:br>
              <a:rPr lang="hu-HU" altLang="hu-HU" sz="1200" b="1" dirty="0">
                <a:solidFill>
                  <a:srgbClr val="C00000"/>
                </a:solidFill>
              </a:rPr>
            </a:br>
            <a:r>
              <a:rPr lang="hu-HU" altLang="hu-HU" sz="1200" b="1" dirty="0">
                <a:solidFill>
                  <a:srgbClr val="C00000"/>
                </a:solidFill>
              </a:rPr>
              <a:t>mért magas növekedés</a:t>
            </a:r>
          </a:p>
        </p:txBody>
      </p:sp>
      <p:sp>
        <p:nvSpPr>
          <p:cNvPr id="171047" name="Szövegdoboz 2"/>
          <p:cNvSpPr txBox="1">
            <a:spLocks noChangeArrowheads="1"/>
          </p:cNvSpPr>
          <p:nvPr/>
        </p:nvSpPr>
        <p:spPr bwMode="auto">
          <a:xfrm>
            <a:off x="69869" y="6446312"/>
            <a:ext cx="173316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hu-HU" altLang="hu-HU" sz="1000" dirty="0"/>
              <a:t>Forrás: Tardos/saját szerk</a:t>
            </a:r>
            <a:r>
              <a:rPr lang="hu-HU" altLang="hu-HU" sz="1800" dirty="0"/>
              <a:t>.</a:t>
            </a:r>
          </a:p>
        </p:txBody>
      </p:sp>
      <p:pic>
        <p:nvPicPr>
          <p:cNvPr id="171048" name="Picture 5" descr="https://upload.wikimedia.org/wikipedia/commons/thumb/a/a4/Flag_of_the_United_States.svg/1235px-Flag_of_the_United_States.svg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32068" y="2967179"/>
            <a:ext cx="394214" cy="254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Ellipszis 1"/>
          <p:cNvSpPr/>
          <p:nvPr/>
        </p:nvSpPr>
        <p:spPr>
          <a:xfrm>
            <a:off x="1520430" y="3322244"/>
            <a:ext cx="1502569" cy="685800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350"/>
          </a:p>
        </p:txBody>
      </p:sp>
      <p:sp>
        <p:nvSpPr>
          <p:cNvPr id="3" name="Lefelé nyíl 2"/>
          <p:cNvSpPr/>
          <p:nvPr/>
        </p:nvSpPr>
        <p:spPr>
          <a:xfrm>
            <a:off x="1889356" y="4365211"/>
            <a:ext cx="363474" cy="733806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350"/>
          </a:p>
        </p:txBody>
      </p:sp>
      <p:sp>
        <p:nvSpPr>
          <p:cNvPr id="5" name="Téglalap 4"/>
          <p:cNvSpPr/>
          <p:nvPr/>
        </p:nvSpPr>
        <p:spPr>
          <a:xfrm>
            <a:off x="1417439" y="5688684"/>
            <a:ext cx="1307307" cy="384082"/>
          </a:xfrm>
          <a:prstGeom prst="rect">
            <a:avLst/>
          </a:prstGeom>
          <a:solidFill>
            <a:srgbClr val="FF99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350" b="1" dirty="0">
                <a:solidFill>
                  <a:schemeClr val="tx1"/>
                </a:solidFill>
              </a:rPr>
              <a:t>Növekvő munkaerőhiány</a:t>
            </a:r>
          </a:p>
        </p:txBody>
      </p:sp>
      <p:sp>
        <p:nvSpPr>
          <p:cNvPr id="7" name="Jobbra nyíl 6"/>
          <p:cNvSpPr/>
          <p:nvPr/>
        </p:nvSpPr>
        <p:spPr>
          <a:xfrm>
            <a:off x="2878933" y="5671984"/>
            <a:ext cx="733806" cy="363474"/>
          </a:xfrm>
          <a:prstGeom prst="rightArrow">
            <a:avLst/>
          </a:prstGeom>
          <a:solidFill>
            <a:srgbClr val="FF99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350"/>
          </a:p>
        </p:txBody>
      </p:sp>
      <p:sp>
        <p:nvSpPr>
          <p:cNvPr id="8" name="Téglalap 7"/>
          <p:cNvSpPr/>
          <p:nvPr/>
        </p:nvSpPr>
        <p:spPr>
          <a:xfrm>
            <a:off x="3702620" y="5660084"/>
            <a:ext cx="4082104" cy="387274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350" dirty="0">
                <a:solidFill>
                  <a:schemeClr val="bg1"/>
                </a:solidFill>
              </a:rPr>
              <a:t>Súlyos politikai útválasztási dilemmák a munkaerő kiváltás/pótlás megítélésében Európában</a:t>
            </a:r>
          </a:p>
        </p:txBody>
      </p:sp>
      <p:pic>
        <p:nvPicPr>
          <p:cNvPr id="1045" name="Picture 21" descr="https://upload.wikimedia.org/wikipedia/commons/thumb/b/b7/Flag_of_Europe.svg/300px-Flag_of_Europe.svg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18915" y="2675963"/>
            <a:ext cx="403361" cy="268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24" descr="https://upload.wikimedia.org/wikipedia/commons/thumb/f/f0/Flag_of_Slovenia.svg/250px-Flag_of_Slovenia.svg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69852" y="4885523"/>
            <a:ext cx="446480" cy="268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Nyíl: jobbra mutató 8">
            <a:extLst>
              <a:ext uri="{FF2B5EF4-FFF2-40B4-BE49-F238E27FC236}">
                <a16:creationId xmlns="" xmlns:a16="http://schemas.microsoft.com/office/drawing/2014/main" id="{D0FB4318-D17A-49FA-AB2A-66EDAAE79F9E}"/>
              </a:ext>
            </a:extLst>
          </p:cNvPr>
          <p:cNvSpPr/>
          <p:nvPr/>
        </p:nvSpPr>
        <p:spPr>
          <a:xfrm>
            <a:off x="7736393" y="2493169"/>
            <a:ext cx="1364744" cy="2739629"/>
          </a:xfrm>
          <a:prstGeom prst="rightArrow">
            <a:avLst>
              <a:gd name="adj1" fmla="val 66688"/>
              <a:gd name="adj2" fmla="val 50000"/>
            </a:avLst>
          </a:prstGeom>
          <a:solidFill>
            <a:schemeClr val="tx1">
              <a:lumMod val="95000"/>
              <a:lumOff val="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350" b="1" dirty="0"/>
              <a:t>2021-22 visszatér a világ-válság?</a:t>
            </a:r>
          </a:p>
        </p:txBody>
      </p:sp>
      <p:sp>
        <p:nvSpPr>
          <p:cNvPr id="14" name="Nyíl: jobbra mutató 13">
            <a:extLst>
              <a:ext uri="{FF2B5EF4-FFF2-40B4-BE49-F238E27FC236}">
                <a16:creationId xmlns="" xmlns:a16="http://schemas.microsoft.com/office/drawing/2014/main" id="{2818BB74-D29F-46B1-917B-825315865A4E}"/>
              </a:ext>
            </a:extLst>
          </p:cNvPr>
          <p:cNvSpPr/>
          <p:nvPr/>
        </p:nvSpPr>
        <p:spPr>
          <a:xfrm>
            <a:off x="35720" y="2433806"/>
            <a:ext cx="1342001" cy="2861436"/>
          </a:xfrm>
          <a:prstGeom prst="rightArrow">
            <a:avLst>
              <a:gd name="adj1" fmla="val 43244"/>
              <a:gd name="adj2" fmla="val 83468"/>
            </a:avLst>
          </a:prstGeom>
          <a:solidFill>
            <a:srgbClr val="EDA7E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350" dirty="0"/>
              <a:t>2017 – 2020: lassan kimerülő </a:t>
            </a:r>
            <a:r>
              <a:rPr lang="hu-HU" sz="1350" dirty="0" err="1"/>
              <a:t>konjunk-túra</a:t>
            </a:r>
            <a:endParaRPr lang="hu-HU" sz="1350" dirty="0"/>
          </a:p>
        </p:txBody>
      </p:sp>
      <p:sp>
        <p:nvSpPr>
          <p:cNvPr id="16" name="Dia számának helye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3DC5-9A08-45DE-8E1B-6A7050465108}" type="slidenum">
              <a:rPr lang="hu-HU" smtClean="0"/>
              <a:pPr/>
              <a:t>21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42410649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 advClick="0" advTm="30000"/>
    </mc:Choice>
    <mc:Fallback>
      <p:transition spd="slow" advClick="0" advTm="30000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Arc 12">
            <a:extLst>
              <a:ext uri="{FF2B5EF4-FFF2-40B4-BE49-F238E27FC236}">
                <a16:creationId xmlns="" xmlns:a16="http://schemas.microsoft.com/office/drawing/2014/main" id="{7EFB618E-E506-435E-BB74-9C5A17197BFE}"/>
              </a:ext>
            </a:extLst>
          </p:cNvPr>
          <p:cNvSpPr/>
          <p:nvPr/>
        </p:nvSpPr>
        <p:spPr>
          <a:xfrm>
            <a:off x="-3462446" y="2051848"/>
            <a:ext cx="9282632" cy="6858762"/>
          </a:xfrm>
          <a:prstGeom prst="arc">
            <a:avLst>
              <a:gd name="adj1" fmla="val 16137346"/>
              <a:gd name="adj2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hu-HU" sz="1350" dirty="0">
              <a:latin typeface="Calibri" panose="020F0502020204030204" pitchFamily="34" charset="0"/>
            </a:endParaRPr>
          </a:p>
        </p:txBody>
      </p:sp>
      <p:sp>
        <p:nvSpPr>
          <p:cNvPr id="31" name="Arc 13">
            <a:extLst>
              <a:ext uri="{FF2B5EF4-FFF2-40B4-BE49-F238E27FC236}">
                <a16:creationId xmlns="" xmlns:a16="http://schemas.microsoft.com/office/drawing/2014/main" id="{6DE9FF3C-00FC-47D0-9947-568819736F90}"/>
              </a:ext>
            </a:extLst>
          </p:cNvPr>
          <p:cNvSpPr/>
          <p:nvPr/>
        </p:nvSpPr>
        <p:spPr>
          <a:xfrm>
            <a:off x="-1944211" y="2051848"/>
            <a:ext cx="6271805" cy="6858762"/>
          </a:xfrm>
          <a:prstGeom prst="arc">
            <a:avLst>
              <a:gd name="adj1" fmla="val 16200000"/>
              <a:gd name="adj2" fmla="val 21592782"/>
            </a:avLst>
          </a:prstGeom>
          <a:solidFill>
            <a:schemeClr val="bg1">
              <a:lumMod val="85000"/>
              <a:alpha val="89804"/>
            </a:schemeClr>
          </a:solidFill>
          <a:ln>
            <a:solidFill>
              <a:srgbClr val="A69F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hu-HU" sz="1350" dirty="0">
              <a:latin typeface="Calibri" panose="020F0502020204030204" pitchFamily="34" charset="0"/>
            </a:endParaRP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3DC5-9A08-45DE-8E1B-6A7050465108}" type="slidenum">
              <a:rPr lang="hu-HU" smtClean="0"/>
              <a:pPr/>
              <a:t>22</a:t>
            </a:fld>
            <a:endParaRPr lang="hu-HU"/>
          </a:p>
        </p:txBody>
      </p:sp>
      <p:sp>
        <p:nvSpPr>
          <p:cNvPr id="4" name="Title 1">
            <a:extLst>
              <a:ext uri="{FF2B5EF4-FFF2-40B4-BE49-F238E27FC236}">
                <a16:creationId xmlns="" xmlns:a16="http://schemas.microsoft.com/office/drawing/2014/main" id="{1551FB9D-CD3E-4DD0-9750-90BFD6202CE8}"/>
              </a:ext>
            </a:extLst>
          </p:cNvPr>
          <p:cNvSpPr txBox="1">
            <a:spLocks/>
          </p:cNvSpPr>
          <p:nvPr/>
        </p:nvSpPr>
        <p:spPr>
          <a:xfrm>
            <a:off x="185111" y="202580"/>
            <a:ext cx="8471557" cy="689517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hu-H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nzív növekedési pályára kell állnunk, amit csak a versenyképességi fordulat biztosíthat</a:t>
            </a:r>
          </a:p>
        </p:txBody>
      </p:sp>
      <p:sp>
        <p:nvSpPr>
          <p:cNvPr id="5" name="Rectangle: Top Corners Rounded 11">
            <a:extLst>
              <a:ext uri="{FF2B5EF4-FFF2-40B4-BE49-F238E27FC236}">
                <a16:creationId xmlns="" xmlns:a16="http://schemas.microsoft.com/office/drawing/2014/main" id="{2795E6CA-A200-445C-8D86-214609D0EF48}"/>
              </a:ext>
            </a:extLst>
          </p:cNvPr>
          <p:cNvSpPr/>
          <p:nvPr/>
        </p:nvSpPr>
        <p:spPr>
          <a:xfrm rot="10800000">
            <a:off x="6186871" y="2855002"/>
            <a:ext cx="2152072" cy="2066196"/>
          </a:xfrm>
          <a:prstGeom prst="round2SameRect">
            <a:avLst>
              <a:gd name="adj1" fmla="val 16667"/>
              <a:gd name="adj2" fmla="val 0"/>
            </a:avLst>
          </a:prstGeom>
          <a:solidFill>
            <a:schemeClr val="bg1">
              <a:lumMod val="85000"/>
              <a:alpha val="68000"/>
            </a:schemeClr>
          </a:solidFill>
          <a:ln w="25400"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hu-HU" sz="1600" dirty="0">
              <a:latin typeface="Calibri" panose="020F0502020204030204" pitchFamily="34" charset="0"/>
            </a:endParaRPr>
          </a:p>
        </p:txBody>
      </p:sp>
      <p:cxnSp>
        <p:nvCxnSpPr>
          <p:cNvPr id="6" name="Straight Connector 14">
            <a:extLst>
              <a:ext uri="{FF2B5EF4-FFF2-40B4-BE49-F238E27FC236}">
                <a16:creationId xmlns="" xmlns:a16="http://schemas.microsoft.com/office/drawing/2014/main" id="{5362EF24-DB3B-4BA5-8078-5493C342482C}"/>
              </a:ext>
            </a:extLst>
          </p:cNvPr>
          <p:cNvCxnSpPr>
            <a:cxnSpLocks/>
          </p:cNvCxnSpPr>
          <p:nvPr/>
        </p:nvCxnSpPr>
        <p:spPr>
          <a:xfrm>
            <a:off x="2539967" y="2100121"/>
            <a:ext cx="0" cy="3436206"/>
          </a:xfrm>
          <a:prstGeom prst="line">
            <a:avLst/>
          </a:prstGeom>
          <a:ln w="25400">
            <a:solidFill>
              <a:schemeClr val="accent1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5">
            <a:extLst>
              <a:ext uri="{FF2B5EF4-FFF2-40B4-BE49-F238E27FC236}">
                <a16:creationId xmlns="" xmlns:a16="http://schemas.microsoft.com/office/drawing/2014/main" id="{9313858C-D734-4B4D-A43C-CF500D4B6AE7}"/>
              </a:ext>
            </a:extLst>
          </p:cNvPr>
          <p:cNvCxnSpPr>
            <a:cxnSpLocks/>
          </p:cNvCxnSpPr>
          <p:nvPr/>
        </p:nvCxnSpPr>
        <p:spPr>
          <a:xfrm>
            <a:off x="5712642" y="2045024"/>
            <a:ext cx="0" cy="3424297"/>
          </a:xfrm>
          <a:prstGeom prst="line">
            <a:avLst/>
          </a:prstGeom>
          <a:ln w="25400">
            <a:solidFill>
              <a:schemeClr val="accent1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: Rounded Corners 17">
            <a:extLst>
              <a:ext uri="{FF2B5EF4-FFF2-40B4-BE49-F238E27FC236}">
                <a16:creationId xmlns="" xmlns:a16="http://schemas.microsoft.com/office/drawing/2014/main" id="{0E3839DE-C828-49DA-AC6F-EB886847E5CC}"/>
              </a:ext>
            </a:extLst>
          </p:cNvPr>
          <p:cNvSpPr/>
          <p:nvPr/>
        </p:nvSpPr>
        <p:spPr>
          <a:xfrm>
            <a:off x="6156783" y="1776806"/>
            <a:ext cx="1512167" cy="679322"/>
          </a:xfrm>
          <a:prstGeom prst="roundRect">
            <a:avLst/>
          </a:prstGeom>
          <a:solidFill>
            <a:schemeClr val="accent3"/>
          </a:solidFill>
          <a:ln w="254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9" name="Rectangle: Rounded Corners 4">
            <a:extLst>
              <a:ext uri="{FF2B5EF4-FFF2-40B4-BE49-F238E27FC236}">
                <a16:creationId xmlns="" xmlns:a16="http://schemas.microsoft.com/office/drawing/2014/main" id="{CC0441B9-291E-4C40-B226-A0585694C953}"/>
              </a:ext>
            </a:extLst>
          </p:cNvPr>
          <p:cNvSpPr txBox="1"/>
          <p:nvPr/>
        </p:nvSpPr>
        <p:spPr>
          <a:xfrm>
            <a:off x="6188296" y="1741791"/>
            <a:ext cx="1368800" cy="612998"/>
          </a:xfrm>
          <a:prstGeom prst="rect">
            <a:avLst/>
          </a:prstGeom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2865" tIns="31433" rIns="62865" bIns="31433" numCol="1" spcCol="1270" anchor="ctr" anchorCtr="0">
            <a:noAutofit/>
          </a:bodyPr>
          <a:lstStyle/>
          <a:p>
            <a:pPr algn="ctr"/>
            <a:r>
              <a:rPr lang="hu-HU" sz="1400" b="1" dirty="0">
                <a:latin typeface="Calibri" panose="020F0502020204030204" pitchFamily="34" charset="0"/>
              </a:rPr>
              <a:t>Intenzív </a:t>
            </a:r>
            <a:br>
              <a:rPr lang="hu-HU" sz="1400" b="1" dirty="0">
                <a:latin typeface="Calibri" panose="020F0502020204030204" pitchFamily="34" charset="0"/>
              </a:rPr>
            </a:br>
            <a:r>
              <a:rPr lang="hu-HU" sz="1400" b="1" dirty="0">
                <a:latin typeface="Calibri" panose="020F0502020204030204" pitchFamily="34" charset="0"/>
              </a:rPr>
              <a:t>növekedési pálya</a:t>
            </a:r>
            <a:endParaRPr lang="en-US" sz="1400" b="1" dirty="0">
              <a:latin typeface="Calibri" panose="020F050202020403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C660F8B2-9976-488A-B03B-154F7BC590CC}"/>
              </a:ext>
            </a:extLst>
          </p:cNvPr>
          <p:cNvSpPr txBox="1">
            <a:spLocks/>
          </p:cNvSpPr>
          <p:nvPr/>
        </p:nvSpPr>
        <p:spPr>
          <a:xfrm>
            <a:off x="5934184" y="2626412"/>
            <a:ext cx="2581166" cy="2268695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marL="0" indent="0" algn="l" defTabSz="685749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875" indent="0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685749" indent="0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028624" indent="0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1371498" indent="0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885809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84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58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33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7175" lvl="1"/>
            <a:r>
              <a:rPr lang="hu-HU" sz="12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ő cél: </a:t>
            </a:r>
          </a:p>
          <a:p>
            <a:pPr lvl="1"/>
            <a:r>
              <a:rPr lang="hu-HU" sz="12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melékenység</a:t>
            </a:r>
            <a:br>
              <a:rPr lang="hu-HU" sz="12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2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ővítése</a:t>
            </a:r>
          </a:p>
          <a:p>
            <a:pPr lvl="1"/>
            <a:r>
              <a:rPr lang="hu-HU" sz="12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senyképesség</a:t>
            </a:r>
            <a:br>
              <a:rPr lang="hu-HU" sz="12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2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vítása</a:t>
            </a:r>
          </a:p>
          <a:p>
            <a:pPr lvl="1"/>
            <a:r>
              <a:rPr lang="hu-HU" sz="1200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+F</a:t>
            </a:r>
            <a:r>
              <a:rPr lang="hu-HU" sz="12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ösztönzése</a:t>
            </a:r>
          </a:p>
          <a:p>
            <a:pPr lvl="1"/>
            <a:r>
              <a:rPr lang="hu-HU" sz="12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kv-k reformja</a:t>
            </a:r>
          </a:p>
          <a:p>
            <a:pPr lvl="1"/>
            <a:r>
              <a:rPr lang="hu-HU" sz="12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őkeintenzitás: évi 4-5 százalékos termelékenység-növekedés</a:t>
            </a:r>
          </a:p>
          <a:p>
            <a:pPr lvl="1"/>
            <a:r>
              <a:rPr lang="hu-HU" sz="12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ántőke fejlesztése</a:t>
            </a:r>
          </a:p>
          <a:p>
            <a:pPr lvl="1"/>
            <a:r>
              <a:rPr lang="hu-HU" sz="12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eatív iparágak </a:t>
            </a:r>
          </a:p>
        </p:txBody>
      </p:sp>
      <p:sp>
        <p:nvSpPr>
          <p:cNvPr id="11" name="Rectangle 20">
            <a:extLst>
              <a:ext uri="{FF2B5EF4-FFF2-40B4-BE49-F238E27FC236}">
                <a16:creationId xmlns="" xmlns:a16="http://schemas.microsoft.com/office/drawing/2014/main" id="{C512830D-F76D-4611-AC43-BD3E13238439}"/>
              </a:ext>
            </a:extLst>
          </p:cNvPr>
          <p:cNvSpPr/>
          <p:nvPr/>
        </p:nvSpPr>
        <p:spPr>
          <a:xfrm>
            <a:off x="1134659" y="3020586"/>
            <a:ext cx="136680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hu-HU" sz="16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Fiskális fordulat,</a:t>
            </a:r>
            <a:br>
              <a:rPr lang="hu-HU" sz="16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</a:br>
            <a:r>
              <a:rPr lang="hu-HU" sz="16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államadósság-ráta</a:t>
            </a:r>
            <a:br>
              <a:rPr lang="hu-HU" sz="16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</a:br>
            <a:r>
              <a:rPr lang="hu-HU" sz="16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csökkenése</a:t>
            </a:r>
          </a:p>
        </p:txBody>
      </p:sp>
      <p:sp>
        <p:nvSpPr>
          <p:cNvPr id="12" name="Rectangle 21">
            <a:extLst>
              <a:ext uri="{FF2B5EF4-FFF2-40B4-BE49-F238E27FC236}">
                <a16:creationId xmlns="" xmlns:a16="http://schemas.microsoft.com/office/drawing/2014/main" id="{BCD11A14-8EBD-4BDA-8361-8FF7D95902AB}"/>
              </a:ext>
            </a:extLst>
          </p:cNvPr>
          <p:cNvSpPr/>
          <p:nvPr/>
        </p:nvSpPr>
        <p:spPr>
          <a:xfrm>
            <a:off x="2479178" y="3383268"/>
            <a:ext cx="1091581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hu-HU" sz="16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Monetáris,</a:t>
            </a:r>
            <a:br>
              <a:rPr lang="hu-HU" sz="16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</a:br>
            <a:r>
              <a:rPr lang="hu-HU" sz="16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hitelezési </a:t>
            </a:r>
            <a:br>
              <a:rPr lang="hu-HU" sz="16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</a:br>
            <a:r>
              <a:rPr lang="hu-HU" sz="16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fordulat</a:t>
            </a:r>
          </a:p>
        </p:txBody>
      </p:sp>
      <p:grpSp>
        <p:nvGrpSpPr>
          <p:cNvPr id="13" name="Group 22">
            <a:extLst>
              <a:ext uri="{FF2B5EF4-FFF2-40B4-BE49-F238E27FC236}">
                <a16:creationId xmlns="" xmlns:a16="http://schemas.microsoft.com/office/drawing/2014/main" id="{D1F7DB28-8D03-4B0B-BB08-159E3940F19C}"/>
              </a:ext>
            </a:extLst>
          </p:cNvPr>
          <p:cNvGrpSpPr/>
          <p:nvPr/>
        </p:nvGrpSpPr>
        <p:grpSpPr>
          <a:xfrm>
            <a:off x="1225940" y="5062708"/>
            <a:ext cx="2779738" cy="332920"/>
            <a:chOff x="627" y="258"/>
            <a:chExt cx="2574211" cy="766348"/>
          </a:xfrm>
        </p:grpSpPr>
        <p:sp>
          <p:nvSpPr>
            <p:cNvPr id="14" name="Rectangle: Rounded Corners 23">
              <a:extLst>
                <a:ext uri="{FF2B5EF4-FFF2-40B4-BE49-F238E27FC236}">
                  <a16:creationId xmlns="" xmlns:a16="http://schemas.microsoft.com/office/drawing/2014/main" id="{6AAB0E50-4718-4CE1-9192-BAC3B3E22DC5}"/>
                </a:ext>
              </a:extLst>
            </p:cNvPr>
            <p:cNvSpPr/>
            <p:nvPr/>
          </p:nvSpPr>
          <p:spPr>
            <a:xfrm>
              <a:off x="627" y="258"/>
              <a:ext cx="2574211" cy="766348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tangle: Rounded Corners 4">
              <a:extLst>
                <a:ext uri="{FF2B5EF4-FFF2-40B4-BE49-F238E27FC236}">
                  <a16:creationId xmlns="" xmlns:a16="http://schemas.microsoft.com/office/drawing/2014/main" id="{F277CFFE-F04A-496D-B4AF-112AE664E30A}"/>
                </a:ext>
              </a:extLst>
            </p:cNvPr>
            <p:cNvSpPr txBox="1"/>
            <p:nvPr/>
          </p:nvSpPr>
          <p:spPr>
            <a:xfrm>
              <a:off x="135819" y="20708"/>
              <a:ext cx="2330152" cy="69152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2865" tIns="31433" rIns="62865" bIns="31433" numCol="1" spcCol="1270" anchor="ctr" anchorCtr="0">
              <a:noAutofit/>
            </a:bodyPr>
            <a:lstStyle/>
            <a:p>
              <a:pPr algn="ctr"/>
              <a:r>
                <a:rPr lang="hu-HU" sz="1600" dirty="0">
                  <a:latin typeface="Calibri" panose="020F0502020204030204" pitchFamily="34" charset="0"/>
                </a:rPr>
                <a:t>Sérülékenység csökkentése</a:t>
              </a:r>
              <a:endParaRPr lang="en-US" sz="1600" dirty="0">
                <a:latin typeface="Calibri" panose="020F0502020204030204" pitchFamily="34" charset="0"/>
              </a:endParaRPr>
            </a:p>
          </p:txBody>
        </p:sp>
      </p:grpSp>
      <p:sp>
        <p:nvSpPr>
          <p:cNvPr id="16" name="Rectangle 25">
            <a:extLst>
              <a:ext uri="{FF2B5EF4-FFF2-40B4-BE49-F238E27FC236}">
                <a16:creationId xmlns="" xmlns:a16="http://schemas.microsoft.com/office/drawing/2014/main" id="{9B0FF418-32C1-4E29-9C8B-37DFEFE4CB40}"/>
              </a:ext>
            </a:extLst>
          </p:cNvPr>
          <p:cNvSpPr/>
          <p:nvPr/>
        </p:nvSpPr>
        <p:spPr>
          <a:xfrm>
            <a:off x="624493" y="1741791"/>
            <a:ext cx="601447" cy="338554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lvl="0" algn="ctr"/>
            <a:r>
              <a:rPr lang="hu-HU" sz="1600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</a:rPr>
              <a:t>2010</a:t>
            </a:r>
          </a:p>
        </p:txBody>
      </p:sp>
      <p:sp>
        <p:nvSpPr>
          <p:cNvPr id="17" name="Rectangle 26">
            <a:extLst>
              <a:ext uri="{FF2B5EF4-FFF2-40B4-BE49-F238E27FC236}">
                <a16:creationId xmlns="" xmlns:a16="http://schemas.microsoft.com/office/drawing/2014/main" id="{8AB4DEE0-1FC6-4FEE-BB88-3F0F05EF2DFC}"/>
              </a:ext>
            </a:extLst>
          </p:cNvPr>
          <p:cNvSpPr/>
          <p:nvPr/>
        </p:nvSpPr>
        <p:spPr>
          <a:xfrm>
            <a:off x="2211225" y="1741791"/>
            <a:ext cx="601447" cy="338554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lvl="0" algn="ctr"/>
            <a:r>
              <a:rPr lang="hu-HU" sz="1600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</a:rPr>
              <a:t>2013</a:t>
            </a:r>
          </a:p>
        </p:txBody>
      </p:sp>
      <p:sp>
        <p:nvSpPr>
          <p:cNvPr id="18" name="Rectangle 27">
            <a:extLst>
              <a:ext uri="{FF2B5EF4-FFF2-40B4-BE49-F238E27FC236}">
                <a16:creationId xmlns="" xmlns:a16="http://schemas.microsoft.com/office/drawing/2014/main" id="{F93DF119-9369-4BDB-AECD-90D94BD5DE0E}"/>
              </a:ext>
            </a:extLst>
          </p:cNvPr>
          <p:cNvSpPr/>
          <p:nvPr/>
        </p:nvSpPr>
        <p:spPr>
          <a:xfrm>
            <a:off x="5457878" y="1713294"/>
            <a:ext cx="601447" cy="338554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lvl="0" algn="ctr"/>
            <a:r>
              <a:rPr lang="hu-HU" sz="1600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</a:rPr>
              <a:t>2017</a:t>
            </a:r>
          </a:p>
        </p:txBody>
      </p:sp>
      <p:sp>
        <p:nvSpPr>
          <p:cNvPr id="19" name="Rectangle 28">
            <a:extLst>
              <a:ext uri="{FF2B5EF4-FFF2-40B4-BE49-F238E27FC236}">
                <a16:creationId xmlns="" xmlns:a16="http://schemas.microsoft.com/office/drawing/2014/main" id="{A9C2BEDC-92B3-4672-844C-215D4F710403}"/>
              </a:ext>
            </a:extLst>
          </p:cNvPr>
          <p:cNvSpPr/>
          <p:nvPr/>
        </p:nvSpPr>
        <p:spPr>
          <a:xfrm>
            <a:off x="5084707" y="3591018"/>
            <a:ext cx="184731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endParaRPr lang="hu-HU" sz="1350" dirty="0">
              <a:solidFill>
                <a:schemeClr val="accent2">
                  <a:lumMod val="60000"/>
                  <a:lumOff val="4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20" name="Content Placeholder 2">
            <a:extLst>
              <a:ext uri="{FF2B5EF4-FFF2-40B4-BE49-F238E27FC236}">
                <a16:creationId xmlns="" xmlns:a16="http://schemas.microsoft.com/office/drawing/2014/main" id="{F2610B93-596E-4F00-B324-AC6309D4479A}"/>
              </a:ext>
            </a:extLst>
          </p:cNvPr>
          <p:cNvSpPr txBox="1">
            <a:spLocks/>
          </p:cNvSpPr>
          <p:nvPr/>
        </p:nvSpPr>
        <p:spPr>
          <a:xfrm>
            <a:off x="3974118" y="4252693"/>
            <a:ext cx="1688586" cy="1203955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accent5"/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accent5"/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accent5"/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accent5"/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accent5"/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7175" lvl="1" indent="0">
              <a:buNone/>
            </a:pPr>
            <a:r>
              <a:rPr lang="hu-HU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Fő cél: </a:t>
            </a:r>
          </a:p>
          <a:p>
            <a:pPr lvl="1"/>
            <a:r>
              <a:rPr lang="hu-HU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Foglalkoztatás emelése</a:t>
            </a:r>
          </a:p>
          <a:p>
            <a:pPr lvl="1"/>
            <a:r>
              <a:rPr lang="hu-HU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Rugalmas munkaerőpiac</a:t>
            </a:r>
          </a:p>
          <a:p>
            <a:pPr lvl="1"/>
            <a:r>
              <a:rPr lang="hu-HU" sz="1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Adócsökkentés</a:t>
            </a:r>
            <a:endParaRPr lang="en-US" sz="12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21" name="Group 30">
            <a:extLst>
              <a:ext uri="{FF2B5EF4-FFF2-40B4-BE49-F238E27FC236}">
                <a16:creationId xmlns="" xmlns:a16="http://schemas.microsoft.com/office/drawing/2014/main" id="{A33325EC-3278-472C-9558-14CB332D69BA}"/>
              </a:ext>
            </a:extLst>
          </p:cNvPr>
          <p:cNvGrpSpPr/>
          <p:nvPr/>
        </p:nvGrpSpPr>
        <p:grpSpPr>
          <a:xfrm>
            <a:off x="4057766" y="3541241"/>
            <a:ext cx="1211672" cy="505043"/>
            <a:chOff x="627" y="258"/>
            <a:chExt cx="2574211" cy="766348"/>
          </a:xfrm>
        </p:grpSpPr>
        <p:sp>
          <p:nvSpPr>
            <p:cNvPr id="22" name="Rectangle: Rounded Corners 31">
              <a:extLst>
                <a:ext uri="{FF2B5EF4-FFF2-40B4-BE49-F238E27FC236}">
                  <a16:creationId xmlns="" xmlns:a16="http://schemas.microsoft.com/office/drawing/2014/main" id="{118A744B-B921-4BE0-9E2B-A0B852D23426}"/>
                </a:ext>
              </a:extLst>
            </p:cNvPr>
            <p:cNvSpPr/>
            <p:nvPr/>
          </p:nvSpPr>
          <p:spPr>
            <a:xfrm>
              <a:off x="627" y="258"/>
              <a:ext cx="2574211" cy="766348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Rectangle: Rounded Corners 4">
              <a:extLst>
                <a:ext uri="{FF2B5EF4-FFF2-40B4-BE49-F238E27FC236}">
                  <a16:creationId xmlns="" xmlns:a16="http://schemas.microsoft.com/office/drawing/2014/main" id="{37793955-2072-4B5F-940F-40D89C5B72D6}"/>
                </a:ext>
              </a:extLst>
            </p:cNvPr>
            <p:cNvSpPr txBox="1"/>
            <p:nvPr/>
          </p:nvSpPr>
          <p:spPr>
            <a:xfrm>
              <a:off x="167430" y="44945"/>
              <a:ext cx="2213441" cy="69152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2865" tIns="31433" rIns="62865" bIns="31433" numCol="1" spcCol="1270" anchor="ctr" anchorCtr="0">
              <a:noAutofit/>
            </a:bodyPr>
            <a:lstStyle/>
            <a:p>
              <a:pPr lvl="0" algn="ctr"/>
              <a:r>
                <a:rPr lang="hu-HU" sz="1600" dirty="0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Calibri" panose="020F0502020204030204" pitchFamily="34" charset="0"/>
                </a:rPr>
                <a:t>Extenzív </a:t>
              </a:r>
              <a:br>
                <a:rPr lang="hu-HU" sz="1600" dirty="0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Calibri" panose="020F0502020204030204" pitchFamily="34" charset="0"/>
                </a:rPr>
              </a:br>
              <a:r>
                <a:rPr lang="hu-HU" sz="1600" dirty="0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Calibri" panose="020F0502020204030204" pitchFamily="34" charset="0"/>
                </a:rPr>
                <a:t>növekedés</a:t>
              </a:r>
            </a:p>
          </p:txBody>
        </p:sp>
      </p:grpSp>
      <p:cxnSp>
        <p:nvCxnSpPr>
          <p:cNvPr id="24" name="Straight Connector 33">
            <a:extLst>
              <a:ext uri="{FF2B5EF4-FFF2-40B4-BE49-F238E27FC236}">
                <a16:creationId xmlns="" xmlns:a16="http://schemas.microsoft.com/office/drawing/2014/main" id="{21D13A69-00AD-496B-ADBB-F90512DF4392}"/>
              </a:ext>
            </a:extLst>
          </p:cNvPr>
          <p:cNvCxnSpPr>
            <a:cxnSpLocks/>
          </p:cNvCxnSpPr>
          <p:nvPr/>
        </p:nvCxnSpPr>
        <p:spPr>
          <a:xfrm>
            <a:off x="1026930" y="2045024"/>
            <a:ext cx="50806" cy="3436205"/>
          </a:xfrm>
          <a:prstGeom prst="line">
            <a:avLst/>
          </a:prstGeom>
          <a:ln w="25400">
            <a:solidFill>
              <a:schemeClr val="accent1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34">
            <a:extLst>
              <a:ext uri="{FF2B5EF4-FFF2-40B4-BE49-F238E27FC236}">
                <a16:creationId xmlns="" xmlns:a16="http://schemas.microsoft.com/office/drawing/2014/main" id="{23EB2C1E-0E8A-40FA-9AC3-66E6905E5BF5}"/>
              </a:ext>
            </a:extLst>
          </p:cNvPr>
          <p:cNvGrpSpPr/>
          <p:nvPr/>
        </p:nvGrpSpPr>
        <p:grpSpPr>
          <a:xfrm>
            <a:off x="6644093" y="5110363"/>
            <a:ext cx="1187593" cy="540681"/>
            <a:chOff x="24961" y="17649"/>
            <a:chExt cx="2589056" cy="766348"/>
          </a:xfrm>
        </p:grpSpPr>
        <p:sp>
          <p:nvSpPr>
            <p:cNvPr id="26" name="Rectangle: Rounded Corners 35">
              <a:extLst>
                <a:ext uri="{FF2B5EF4-FFF2-40B4-BE49-F238E27FC236}">
                  <a16:creationId xmlns="" xmlns:a16="http://schemas.microsoft.com/office/drawing/2014/main" id="{813A789D-B86A-497B-806A-67AB9778174F}"/>
                </a:ext>
              </a:extLst>
            </p:cNvPr>
            <p:cNvSpPr/>
            <p:nvPr/>
          </p:nvSpPr>
          <p:spPr>
            <a:xfrm>
              <a:off x="24961" y="17649"/>
              <a:ext cx="2574212" cy="766348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angle: Rounded Corners 4">
              <a:extLst>
                <a:ext uri="{FF2B5EF4-FFF2-40B4-BE49-F238E27FC236}">
                  <a16:creationId xmlns="" xmlns:a16="http://schemas.microsoft.com/office/drawing/2014/main" id="{19B3CF2F-D051-45D4-BA86-C2FB259293F9}"/>
                </a:ext>
              </a:extLst>
            </p:cNvPr>
            <p:cNvSpPr txBox="1"/>
            <p:nvPr/>
          </p:nvSpPr>
          <p:spPr>
            <a:xfrm>
              <a:off x="84323" y="20708"/>
              <a:ext cx="2529694" cy="69152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2865" tIns="31433" rIns="62865" bIns="31433" numCol="1" spcCol="1270" anchor="ctr" anchorCtr="0">
              <a:noAutofit/>
            </a:bodyPr>
            <a:lstStyle/>
            <a:p>
              <a:pPr algn="ctr"/>
              <a:r>
                <a:rPr lang="hu-HU" sz="1400" b="1" dirty="0">
                  <a:latin typeface="Calibri" panose="020F0502020204030204" pitchFamily="34" charset="0"/>
                </a:rPr>
                <a:t>Teljes foglalkoztatás</a:t>
              </a:r>
              <a:endParaRPr lang="en-US" sz="1400" b="1" dirty="0">
                <a:latin typeface="Calibri" panose="020F0502020204030204" pitchFamily="34" charset="0"/>
              </a:endParaRPr>
            </a:p>
          </p:txBody>
        </p:sp>
      </p:grpSp>
      <p:sp>
        <p:nvSpPr>
          <p:cNvPr id="28" name="Arrow: Bent 2">
            <a:extLst>
              <a:ext uri="{FF2B5EF4-FFF2-40B4-BE49-F238E27FC236}">
                <a16:creationId xmlns="" xmlns:a16="http://schemas.microsoft.com/office/drawing/2014/main" id="{82B5A65C-6B27-4BEB-B40B-214F37E623C3}"/>
              </a:ext>
            </a:extLst>
          </p:cNvPr>
          <p:cNvSpPr/>
          <p:nvPr/>
        </p:nvSpPr>
        <p:spPr>
          <a:xfrm>
            <a:off x="4560665" y="1956144"/>
            <a:ext cx="1192215" cy="1479221"/>
          </a:xfrm>
          <a:prstGeom prst="bentArrow">
            <a:avLst>
              <a:gd name="adj1" fmla="val 18441"/>
              <a:gd name="adj2" fmla="val 16413"/>
              <a:gd name="adj3" fmla="val 22853"/>
              <a:gd name="adj4" fmla="val 4376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350">
              <a:solidFill>
                <a:schemeClr val="tx1"/>
              </a:solidFill>
            </a:endParaRPr>
          </a:p>
        </p:txBody>
      </p:sp>
      <p:sp>
        <p:nvSpPr>
          <p:cNvPr id="29" name="Ellipszis 28">
            <a:extLst>
              <a:ext uri="{FF2B5EF4-FFF2-40B4-BE49-F238E27FC236}">
                <a16:creationId xmlns="" xmlns:a16="http://schemas.microsoft.com/office/drawing/2014/main" id="{B2017ECB-4637-400C-BA83-5AC2089FA1AF}"/>
              </a:ext>
            </a:extLst>
          </p:cNvPr>
          <p:cNvSpPr/>
          <p:nvPr/>
        </p:nvSpPr>
        <p:spPr>
          <a:xfrm>
            <a:off x="6150218" y="3825986"/>
            <a:ext cx="1894943" cy="220298"/>
          </a:xfrm>
          <a:prstGeom prst="ellipse">
            <a:avLst/>
          </a:prstGeom>
          <a:noFill/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600"/>
          </a:p>
        </p:txBody>
      </p:sp>
      <p:sp>
        <p:nvSpPr>
          <p:cNvPr id="30" name="TextBox 37">
            <a:extLst>
              <a:ext uri="{FF2B5EF4-FFF2-40B4-BE49-F238E27FC236}">
                <a16:creationId xmlns="" xmlns:a16="http://schemas.microsoft.com/office/drawing/2014/main" id="{F41F7398-28A9-4960-A9A7-B19C85E07C87}"/>
              </a:ext>
            </a:extLst>
          </p:cNvPr>
          <p:cNvSpPr txBox="1"/>
          <p:nvPr/>
        </p:nvSpPr>
        <p:spPr>
          <a:xfrm>
            <a:off x="3745082" y="1746819"/>
            <a:ext cx="1680332" cy="58477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hu-HU" sz="1600" b="1" dirty="0">
                <a:solidFill>
                  <a:srgbClr val="FF0000"/>
                </a:solidFill>
                <a:latin typeface="Calibri"/>
              </a:rPr>
              <a:t>Versenyképességi</a:t>
            </a:r>
          </a:p>
          <a:p>
            <a:pPr>
              <a:defRPr/>
            </a:pPr>
            <a:r>
              <a:rPr lang="hu-HU" sz="1600" b="1" dirty="0">
                <a:solidFill>
                  <a:srgbClr val="FF0000"/>
                </a:solidFill>
                <a:latin typeface="Calibri"/>
              </a:rPr>
              <a:t>fordula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="" xmlns:a16="http://schemas.microsoft.com/office/drawing/2014/main" id="{CA80C392-95EC-4701-86D5-B6D5B06FD5A1}"/>
              </a:ext>
            </a:extLst>
          </p:cNvPr>
          <p:cNvSpPr txBox="1">
            <a:spLocks/>
          </p:cNvSpPr>
          <p:nvPr/>
        </p:nvSpPr>
        <p:spPr>
          <a:xfrm>
            <a:off x="45160" y="6172967"/>
            <a:ext cx="2977184" cy="2770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hu-HU" sz="1400" i="1">
                <a:latin typeface="Calibri" panose="020F0502020204030204" pitchFamily="34" charset="0"/>
              </a:rPr>
              <a:t>Forrás: MNB</a:t>
            </a:r>
            <a:endParaRPr lang="hu-HU" sz="1400" i="1" dirty="0">
              <a:latin typeface="Calibri" panose="020F0502020204030204" pitchFamily="34" charset="0"/>
            </a:endParaRPr>
          </a:p>
        </p:txBody>
      </p:sp>
      <p:sp>
        <p:nvSpPr>
          <p:cNvPr id="2" name="Dátum hely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3060A9-868C-42E0-8DFB-3DE5A899F1F8}" type="datetime1">
              <a:rPr lang="hu-HU" smtClean="0"/>
              <a:pPr/>
              <a:t>2019.05.21.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248340667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28599" y="2019300"/>
            <a:ext cx="8696325" cy="1536110"/>
          </a:xfrm>
        </p:spPr>
        <p:txBody>
          <a:bodyPr>
            <a:normAutofit/>
          </a:bodyPr>
          <a:lstStyle/>
          <a:p>
            <a:pPr algn="ctr"/>
            <a:r>
              <a:rPr lang="hu-HU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SZÖNÖM A MEGTISZTELŐ FIGYELMET!</a:t>
            </a: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3DC5-9A08-45DE-8E1B-6A7050465108}" type="slidenum">
              <a:rPr lang="hu-HU" smtClean="0"/>
              <a:pPr/>
              <a:t>23</a:t>
            </a:fld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F307CE-653C-4182-86BB-56A90AA5C3A5}" type="datetime1">
              <a:rPr lang="hu-HU" smtClean="0"/>
              <a:pPr/>
              <a:t>2019.05.21.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28572547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278570241"/>
              </p:ext>
            </p:extLst>
          </p:nvPr>
        </p:nvGraphicFramePr>
        <p:xfrm>
          <a:off x="0" y="1535562"/>
          <a:ext cx="9013371" cy="4865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zövegdoboz 1"/>
          <p:cNvSpPr txBox="1"/>
          <p:nvPr/>
        </p:nvSpPr>
        <p:spPr>
          <a:xfrm>
            <a:off x="2199189" y="2107019"/>
            <a:ext cx="6351739" cy="507831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txBody>
          <a:bodyPr wrap="none" rtlCol="0">
            <a:spAutoFit/>
          </a:bodyPr>
          <a:lstStyle/>
          <a:p>
            <a:r>
              <a:rPr lang="hu-HU" sz="1350" dirty="0"/>
              <a:t>A rendszerváltás után, 1991-től a lengyel adósság kétharmadát hitelező </a:t>
            </a:r>
          </a:p>
          <a:p>
            <a:r>
              <a:rPr lang="hu-HU" sz="1350" dirty="0"/>
              <a:t>nyugati kormányok elengedték a tartozás felét, a bankok meg követelésük 45 százalékát.</a:t>
            </a:r>
          </a:p>
        </p:txBody>
      </p:sp>
      <p:cxnSp>
        <p:nvCxnSpPr>
          <p:cNvPr id="5" name="Egyenes összekötő nyíllal 4"/>
          <p:cNvCxnSpPr/>
          <p:nvPr/>
        </p:nvCxnSpPr>
        <p:spPr>
          <a:xfrm flipH="1">
            <a:off x="912141" y="2448467"/>
            <a:ext cx="1258663" cy="1554278"/>
          </a:xfrm>
          <a:prstGeom prst="straightConnector1">
            <a:avLst/>
          </a:prstGeom>
          <a:ln w="571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Egyenes összekötő nyíllal 10"/>
          <p:cNvCxnSpPr/>
          <p:nvPr/>
        </p:nvCxnSpPr>
        <p:spPr>
          <a:xfrm flipH="1">
            <a:off x="1161518" y="1951004"/>
            <a:ext cx="759907" cy="214272"/>
          </a:xfrm>
          <a:prstGeom prst="straightConnector1">
            <a:avLst/>
          </a:prstGeom>
          <a:ln w="5715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zövegdoboz 2"/>
          <p:cNvSpPr txBox="1"/>
          <p:nvPr/>
        </p:nvSpPr>
        <p:spPr>
          <a:xfrm>
            <a:off x="57838" y="-24514"/>
            <a:ext cx="9144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énzügyi stabilitás nélkül nincs értelme versenyképességről beszélni, most jött el az ideje, hogy az extenzív növekedésről a hatékonyság alapúra térjünk át</a:t>
            </a:r>
          </a:p>
        </p:txBody>
      </p:sp>
      <p:sp>
        <p:nvSpPr>
          <p:cNvPr id="7" name="Szövegdoboz 1"/>
          <p:cNvSpPr txBox="1"/>
          <p:nvPr/>
        </p:nvSpPr>
        <p:spPr>
          <a:xfrm>
            <a:off x="1963414" y="1510114"/>
            <a:ext cx="4894586" cy="540995"/>
          </a:xfrm>
          <a:prstGeom prst="rect">
            <a:avLst/>
          </a:prstGeom>
          <a:ln w="57150">
            <a:solidFill>
              <a:schemeClr val="tx1"/>
            </a:solidFill>
          </a:ln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hu-HU" sz="1600" b="1" dirty="0"/>
              <a:t>A bolgár adósságfolyamatokban 1990 után a gazdasági </a:t>
            </a:r>
          </a:p>
          <a:p>
            <a:r>
              <a:rPr lang="hu-HU" sz="1600" b="1" dirty="0"/>
              <a:t>sokkterápia, valutareform játszottak szerepet.  </a:t>
            </a:r>
          </a:p>
        </p:txBody>
      </p:sp>
      <p:sp>
        <p:nvSpPr>
          <p:cNvPr id="8" name="Szövegdoboz 1"/>
          <p:cNvSpPr txBox="1"/>
          <p:nvPr/>
        </p:nvSpPr>
        <p:spPr>
          <a:xfrm>
            <a:off x="3335877" y="2659062"/>
            <a:ext cx="3151516" cy="323100"/>
          </a:xfrm>
          <a:prstGeom prst="rect">
            <a:avLst/>
          </a:prstGeom>
          <a:ln w="57150">
            <a:solidFill>
              <a:srgbClr val="C00000"/>
            </a:solidFill>
          </a:ln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hu-H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rülékenység csökkenése 2013-tól</a:t>
            </a:r>
          </a:p>
        </p:txBody>
      </p:sp>
      <p:cxnSp>
        <p:nvCxnSpPr>
          <p:cNvPr id="15" name="Szögletes összekötő 14"/>
          <p:cNvCxnSpPr>
            <a:stCxn id="8" idx="3"/>
          </p:cNvCxnSpPr>
          <p:nvPr/>
        </p:nvCxnSpPr>
        <p:spPr>
          <a:xfrm>
            <a:off x="6487393" y="2820612"/>
            <a:ext cx="370607" cy="820441"/>
          </a:xfrm>
          <a:prstGeom prst="bentConnector2">
            <a:avLst/>
          </a:prstGeom>
          <a:ln w="38100">
            <a:solidFill>
              <a:srgbClr val="C00000"/>
            </a:solidFill>
            <a:prstDash val="dash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9" name="Szövegdoboz 18"/>
          <p:cNvSpPr txBox="1"/>
          <p:nvPr/>
        </p:nvSpPr>
        <p:spPr>
          <a:xfrm>
            <a:off x="0" y="6654520"/>
            <a:ext cx="86812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i="1" dirty="0"/>
              <a:t>Forrás: Európai Bizottság, KT Titkársága szerkesztés</a:t>
            </a:r>
          </a:p>
        </p:txBody>
      </p:sp>
      <p:sp>
        <p:nvSpPr>
          <p:cNvPr id="20" name="Szövegdoboz 19"/>
          <p:cNvSpPr txBox="1"/>
          <p:nvPr/>
        </p:nvSpPr>
        <p:spPr>
          <a:xfrm>
            <a:off x="0" y="6377684"/>
            <a:ext cx="68001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600" dirty="0">
                <a:solidFill>
                  <a:srgbClr val="C00000"/>
                </a:solidFill>
              </a:rPr>
              <a:t>* 2018-19-20-ra az Európai Bizottság </a:t>
            </a:r>
            <a:r>
              <a:rPr lang="hu-HU" sz="1600" dirty="0" smtClean="0">
                <a:solidFill>
                  <a:srgbClr val="C00000"/>
                </a:solidFill>
              </a:rPr>
              <a:t>2019. </a:t>
            </a:r>
            <a:r>
              <a:rPr lang="hu-HU" sz="1600" smtClean="0">
                <a:solidFill>
                  <a:srgbClr val="C00000"/>
                </a:solidFill>
              </a:rPr>
              <a:t>tavaszi </a:t>
            </a:r>
            <a:r>
              <a:rPr lang="hu-HU" sz="1600" dirty="0">
                <a:solidFill>
                  <a:srgbClr val="C00000"/>
                </a:solidFill>
              </a:rPr>
              <a:t>előrejelzése alapján</a:t>
            </a:r>
          </a:p>
        </p:txBody>
      </p:sp>
      <p:sp>
        <p:nvSpPr>
          <p:cNvPr id="4" name="Szövegdoboz 3"/>
          <p:cNvSpPr txBox="1"/>
          <p:nvPr/>
        </p:nvSpPr>
        <p:spPr>
          <a:xfrm>
            <a:off x="404949" y="883965"/>
            <a:ext cx="901337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/>
              <a:t>A GDP</a:t>
            </a:r>
            <a:r>
              <a:rPr lang="hu-HU" sz="2000" b="1" dirty="0"/>
              <a:t>-</a:t>
            </a:r>
            <a:r>
              <a:rPr lang="en-GB" sz="2000" b="1" dirty="0" err="1"/>
              <a:t>arányos</a:t>
            </a:r>
            <a:r>
              <a:rPr lang="en-GB" sz="2000" b="1" dirty="0"/>
              <a:t> </a:t>
            </a:r>
            <a:r>
              <a:rPr lang="en-GB" sz="2000" b="1" dirty="0" err="1"/>
              <a:t>államadósság</a:t>
            </a:r>
            <a:r>
              <a:rPr lang="en-GB" sz="2000" b="1" dirty="0"/>
              <a:t> </a:t>
            </a:r>
            <a:r>
              <a:rPr lang="en-GB" sz="2000" b="1" dirty="0" err="1"/>
              <a:t>alakulása</a:t>
            </a:r>
            <a:r>
              <a:rPr lang="en-GB" sz="2000" b="1" dirty="0"/>
              <a:t> </a:t>
            </a:r>
            <a:r>
              <a:rPr lang="en-GB" sz="2000" b="1" dirty="0" err="1"/>
              <a:t>az</a:t>
            </a:r>
            <a:r>
              <a:rPr lang="en-GB" sz="2000" b="1" dirty="0"/>
              <a:t> EU-</a:t>
            </a:r>
            <a:r>
              <a:rPr lang="en-GB" sz="2000" b="1" dirty="0" err="1"/>
              <a:t>hoz</a:t>
            </a:r>
            <a:r>
              <a:rPr lang="en-GB" sz="2000" b="1" dirty="0"/>
              <a:t> 2000 </a:t>
            </a:r>
            <a:r>
              <a:rPr lang="en-GB" sz="2000" b="1" dirty="0" err="1"/>
              <a:t>után</a:t>
            </a:r>
            <a:r>
              <a:rPr lang="en-GB" sz="2000" b="1" dirty="0"/>
              <a:t> </a:t>
            </a:r>
            <a:r>
              <a:rPr lang="en-GB" sz="2000" b="1" dirty="0" err="1"/>
              <a:t>csatlakozott</a:t>
            </a:r>
            <a:r>
              <a:rPr lang="en-GB" sz="2000" b="1" dirty="0"/>
              <a:t> </a:t>
            </a:r>
            <a:r>
              <a:rPr lang="en-GB" sz="2000" b="1" dirty="0" err="1"/>
              <a:t>országokban</a:t>
            </a:r>
            <a:r>
              <a:rPr lang="en-GB" sz="2000" b="1" dirty="0"/>
              <a:t> </a:t>
            </a:r>
            <a:r>
              <a:rPr lang="hu-HU" sz="2000" b="1" dirty="0"/>
              <a:t>1990</a:t>
            </a:r>
            <a:r>
              <a:rPr lang="en-GB" sz="2000" b="1" dirty="0"/>
              <a:t>-2020 </a:t>
            </a:r>
            <a:r>
              <a:rPr lang="en-GB" sz="2000" b="1" dirty="0" err="1"/>
              <a:t>között</a:t>
            </a:r>
            <a:endParaRPr lang="en-GB" sz="2000" b="1" dirty="0"/>
          </a:p>
        </p:txBody>
      </p:sp>
    </p:spTree>
    <p:extLst>
      <p:ext uri="{BB962C8B-B14F-4D97-AF65-F5344CB8AC3E}">
        <p14:creationId xmlns:p14="http://schemas.microsoft.com/office/powerpoint/2010/main" xmlns="" val="7888855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="" xmlns:a16="http://schemas.microsoft.com/office/drawing/2014/main" id="{E9769554-B3FA-414D-94EF-A7C52E1211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514" y="126030"/>
            <a:ext cx="8882743" cy="752215"/>
          </a:xfrm>
        </p:spPr>
        <p:txBody>
          <a:bodyPr>
            <a:normAutofit/>
          </a:bodyPr>
          <a:lstStyle/>
          <a:p>
            <a:r>
              <a:rPr lang="hu-HU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államadósság devizaaránya 23 százalék közelébe csökkent 2018 végére</a:t>
            </a:r>
          </a:p>
        </p:txBody>
      </p:sp>
      <p:pic>
        <p:nvPicPr>
          <p:cNvPr id="4" name="Kép 3">
            <a:extLst>
              <a:ext uri="{FF2B5EF4-FFF2-40B4-BE49-F238E27FC236}">
                <a16:creationId xmlns="" xmlns:a16="http://schemas.microsoft.com/office/drawing/2014/main" id="{D27C8E49-667C-4EBF-B86A-88D1BE3A75C0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06046" y="1524576"/>
            <a:ext cx="7953677" cy="4994870"/>
          </a:xfrm>
          <a:prstGeom prst="rect">
            <a:avLst/>
          </a:prstGeom>
        </p:spPr>
      </p:pic>
      <p:sp>
        <p:nvSpPr>
          <p:cNvPr id="5" name="Szövegdoboz 4">
            <a:extLst>
              <a:ext uri="{FF2B5EF4-FFF2-40B4-BE49-F238E27FC236}">
                <a16:creationId xmlns="" xmlns:a16="http://schemas.microsoft.com/office/drawing/2014/main" id="{8A554723-73DC-4257-9B70-0BD915EDE016}"/>
              </a:ext>
            </a:extLst>
          </p:cNvPr>
          <p:cNvSpPr txBox="1"/>
          <p:nvPr/>
        </p:nvSpPr>
        <p:spPr>
          <a:xfrm>
            <a:off x="0" y="6519446"/>
            <a:ext cx="78470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600" dirty="0"/>
              <a:t>Forrás: ÁKK, MNB</a:t>
            </a:r>
          </a:p>
        </p:txBody>
      </p:sp>
      <p:sp>
        <p:nvSpPr>
          <p:cNvPr id="6" name="Téglalap 9"/>
          <p:cNvSpPr>
            <a:spLocks noChangeArrowheads="1"/>
          </p:cNvSpPr>
          <p:nvPr/>
        </p:nvSpPr>
        <p:spPr bwMode="auto">
          <a:xfrm>
            <a:off x="107156" y="878245"/>
            <a:ext cx="903684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hu-HU" altLang="en-US" sz="18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GDP-arányos államadósság és annak devizaadósság és forintadósság szerinti összetétele 2004-2018 között (negyedévente)</a:t>
            </a:r>
            <a:endParaRPr lang="hu-HU" altLang="en-US" sz="135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zövegdoboz 2"/>
          <p:cNvSpPr txBox="1"/>
          <p:nvPr/>
        </p:nvSpPr>
        <p:spPr>
          <a:xfrm>
            <a:off x="3569678" y="2729348"/>
            <a:ext cx="4642337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hu-HU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 végén a külföldiek az államadósság mintegy harmadát </a:t>
            </a:r>
            <a:r>
              <a:rPr lang="hu-HU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rtokolták</a:t>
            </a:r>
            <a:endParaRPr lang="hu-HU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282120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="" xmlns:a16="http://schemas.microsoft.com/office/drawing/2014/main" id="{E9769554-B3FA-414D-94EF-A7C52E1211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84" y="73580"/>
            <a:ext cx="8596668" cy="804665"/>
          </a:xfrm>
        </p:spPr>
        <p:txBody>
          <a:bodyPr>
            <a:normAutofit/>
          </a:bodyPr>
          <a:lstStyle/>
          <a:p>
            <a:r>
              <a:rPr lang="hu-HU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 elején Az állampapírok mintegy ötöde a háztartások tulajdonában van</a:t>
            </a:r>
          </a:p>
        </p:txBody>
      </p:sp>
      <p:sp>
        <p:nvSpPr>
          <p:cNvPr id="5" name="Szövegdoboz 4">
            <a:extLst>
              <a:ext uri="{FF2B5EF4-FFF2-40B4-BE49-F238E27FC236}">
                <a16:creationId xmlns="" xmlns:a16="http://schemas.microsoft.com/office/drawing/2014/main" id="{8A554723-73DC-4257-9B70-0BD915EDE016}"/>
              </a:ext>
            </a:extLst>
          </p:cNvPr>
          <p:cNvSpPr txBox="1"/>
          <p:nvPr/>
        </p:nvSpPr>
        <p:spPr>
          <a:xfrm>
            <a:off x="0" y="6519446"/>
            <a:ext cx="78470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600" dirty="0"/>
              <a:t>Forrás: MNB</a:t>
            </a:r>
          </a:p>
        </p:txBody>
      </p:sp>
      <p:pic>
        <p:nvPicPr>
          <p:cNvPr id="3" name="Kép 2">
            <a:extLst>
              <a:ext uri="{FF2B5EF4-FFF2-40B4-BE49-F238E27FC236}">
                <a16:creationId xmlns="" xmlns:a16="http://schemas.microsoft.com/office/drawing/2014/main" id="{0BF2F3E9-B48A-4C1F-ADBB-AB8B0642FB8F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77283" y="1596258"/>
            <a:ext cx="8355087" cy="4982121"/>
          </a:xfrm>
          <a:prstGeom prst="rect">
            <a:avLst/>
          </a:prstGeom>
        </p:spPr>
      </p:pic>
      <p:sp>
        <p:nvSpPr>
          <p:cNvPr id="6" name="Téglalap 9"/>
          <p:cNvSpPr>
            <a:spLocks noChangeArrowheads="1"/>
          </p:cNvSpPr>
          <p:nvPr/>
        </p:nvSpPr>
        <p:spPr bwMode="auto">
          <a:xfrm>
            <a:off x="107156" y="791594"/>
            <a:ext cx="903684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hu-HU" altLang="en-US" sz="18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állampapírok megoszlása az egyes jövedelemtulajdonosok között 2013-2019 között (félévente)</a:t>
            </a:r>
            <a:endParaRPr lang="hu-HU" altLang="en-US" sz="135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442849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ktum 5" hidden="1"/>
          <p:cNvGraphicFramePr>
            <a:graphicFrameLocks noChangeAspect="1"/>
          </p:cNvGraphicFramePr>
          <p:nvPr/>
        </p:nvGraphicFramePr>
        <p:xfrm>
          <a:off x="2001442" y="1501379"/>
          <a:ext cx="1190" cy="1190"/>
        </p:xfrm>
        <a:graphic>
          <a:graphicData uri="http://schemas.openxmlformats.org/presentationml/2006/ole">
            <p:oleObj spid="_x0000_s4180" name="think-cell Slide" r:id="rId4" imgW="360" imgH="360" progId="">
              <p:embed/>
            </p:oleObj>
          </a:graphicData>
        </a:graphic>
      </p:graphicFrame>
      <p:sp>
        <p:nvSpPr>
          <p:cNvPr id="9" name="AutoShape 11"/>
          <p:cNvSpPr>
            <a:spLocks noChangeArrowheads="1"/>
          </p:cNvSpPr>
          <p:nvPr/>
        </p:nvSpPr>
        <p:spPr bwMode="auto">
          <a:xfrm rot="10800000">
            <a:off x="211927" y="782097"/>
            <a:ext cx="8721329" cy="5476149"/>
          </a:xfrm>
          <a:prstGeom prst="homePlate">
            <a:avLst>
              <a:gd name="adj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chemeClr val="accent1">
                <a:lumMod val="20000"/>
                <a:lumOff val="80000"/>
              </a:schemeClr>
            </a:solidFill>
            <a:miter lim="800000"/>
            <a:headEnd/>
            <a:tailEnd/>
          </a:ln>
        </p:spPr>
        <p:txBody>
          <a:bodyPr rot="10800000" lIns="51433" tIns="25717" rIns="51433" bIns="25717" anchor="ctr"/>
          <a:lstStyle/>
          <a:p>
            <a:pPr>
              <a:defRPr/>
            </a:pPr>
            <a:endParaRPr lang="en-GB" sz="900" kern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9784" y="114301"/>
            <a:ext cx="8785622" cy="640556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en-US" altLang="en-US" sz="2100" b="1" dirty="0">
                <a:solidFill>
                  <a:srgbClr val="002060"/>
                </a:solidFill>
              </a:rPr>
              <a:t/>
            </a:r>
            <a:br>
              <a:rPr lang="en-US" altLang="en-US" sz="2100" b="1" dirty="0">
                <a:solidFill>
                  <a:srgbClr val="002060"/>
                </a:solidFill>
              </a:rPr>
            </a:br>
            <a:r>
              <a:rPr lang="hu-HU" altLang="en-US" sz="1800" b="1" spc="-34" dirty="0">
                <a:solidFill>
                  <a:srgbClr val="0000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trukturális tényezők mellett  ország-specifikus események és a gazdaságpolitika is befolyásolja az egyes országok relatív megítélését</a:t>
            </a:r>
            <a:r>
              <a:rPr lang="hu-HU" altLang="en-US" sz="2100" b="1" spc="-34" dirty="0">
                <a:solidFill>
                  <a:srgbClr val="0000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altLang="en-US" sz="2100" b="1" spc="-34" dirty="0">
                <a:solidFill>
                  <a:srgbClr val="00007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altLang="en-US" sz="2100" b="1" spc="-34" dirty="0">
              <a:solidFill>
                <a:srgbClr val="00007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53" name="Szövegdoboz 6"/>
          <p:cNvSpPr txBox="1">
            <a:spLocks noChangeArrowheads="1"/>
          </p:cNvSpPr>
          <p:nvPr/>
        </p:nvSpPr>
        <p:spPr bwMode="auto">
          <a:xfrm>
            <a:off x="179784" y="6258247"/>
            <a:ext cx="4979248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hu-HU" altLang="en-US" sz="675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rás: Reuters, a CEE átlag a fenti országok átlaga, az egyes országok vonalai pedig a CEE átlagtól való eltérést ábrázolják</a:t>
            </a:r>
          </a:p>
        </p:txBody>
      </p:sp>
      <p:sp>
        <p:nvSpPr>
          <p:cNvPr id="2054" name="Szövegdoboz 4"/>
          <p:cNvSpPr txBox="1">
            <a:spLocks noChangeArrowheads="1"/>
          </p:cNvSpPr>
          <p:nvPr/>
        </p:nvSpPr>
        <p:spPr bwMode="auto">
          <a:xfrm>
            <a:off x="485774" y="986258"/>
            <a:ext cx="8447485" cy="334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hu-HU" altLang="en-US" sz="1575" b="1" dirty="0">
                <a:solidFill>
                  <a:srgbClr val="002060"/>
                </a:solidFill>
                <a:latin typeface="Arial" panose="020B0604020202020204" pitchFamily="34" charset="0"/>
              </a:rPr>
              <a:t>A CEE térség átlagos </a:t>
            </a:r>
            <a:r>
              <a:rPr lang="hu-HU" altLang="en-US" sz="1575" b="1" dirty="0" err="1">
                <a:solidFill>
                  <a:srgbClr val="002060"/>
                </a:solidFill>
                <a:latin typeface="Arial" panose="020B0604020202020204" pitchFamily="34" charset="0"/>
              </a:rPr>
              <a:t>CDS-felára</a:t>
            </a:r>
            <a:r>
              <a:rPr lang="hu-HU" altLang="en-US" sz="1575" b="1" dirty="0">
                <a:solidFill>
                  <a:srgbClr val="002060"/>
                </a:solidFill>
                <a:latin typeface="Arial" panose="020B0604020202020204" pitchFamily="34" charset="0"/>
              </a:rPr>
              <a:t> és az egyes országok relatív pozíciói </a:t>
            </a:r>
            <a:r>
              <a:rPr lang="hu-HU" altLang="en-US" sz="1575" dirty="0">
                <a:solidFill>
                  <a:srgbClr val="002060"/>
                </a:solidFill>
                <a:latin typeface="Arial" panose="020B0604020202020204" pitchFamily="34" charset="0"/>
              </a:rPr>
              <a:t>(bázispont)</a:t>
            </a:r>
            <a:endParaRPr lang="hu-HU" altLang="hu-HU" sz="1575" dirty="0">
              <a:latin typeface="Arial" panose="020B0604020202020204" pitchFamily="34" charset="0"/>
            </a:endParaRPr>
          </a:p>
        </p:txBody>
      </p:sp>
      <p:sp>
        <p:nvSpPr>
          <p:cNvPr id="2055" name="Dátum helye 2"/>
          <p:cNvSpPr>
            <a:spLocks noGrp="1"/>
          </p:cNvSpPr>
          <p:nvPr>
            <p:ph type="dt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57213" indent="-2143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8572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2001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5430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85950" indent="-17145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28850" indent="-17145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571750" indent="-17145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914650" indent="-17145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60660AF9-8519-4393-9D68-E8561EA1A571}" type="datetime4">
              <a:rPr lang="hu-HU" altLang="hu-HU" sz="900">
                <a:latin typeface="Times New Roman" panose="02020603050405020304" pitchFamily="18" charset="0"/>
              </a:rPr>
              <a:pPr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019. május 21.</a:t>
            </a:fld>
            <a:endParaRPr lang="hu-HU" altLang="hu-HU" sz="900">
              <a:latin typeface="Times New Roman" panose="02020603050405020304" pitchFamily="18" charset="0"/>
            </a:endParaRPr>
          </a:p>
        </p:txBody>
      </p:sp>
      <p:sp>
        <p:nvSpPr>
          <p:cNvPr id="2056" name="Dia számának helye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57213" indent="-2143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8572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2001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5430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85950" indent="-17145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28850" indent="-17145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571750" indent="-17145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914650" indent="-17145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89447EBF-7B4F-4574-8948-51203DC9FAA1}" type="slidenum">
              <a:rPr lang="hu-HU" altLang="hu-HU" sz="1050">
                <a:latin typeface="Arial" panose="020B0604020202020204" pitchFamily="34" charset="0"/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6</a:t>
            </a:fld>
            <a:endParaRPr lang="hu-HU" altLang="hu-HU" sz="1050">
              <a:latin typeface="Arial" panose="020B0604020202020204" pitchFamily="34" charset="0"/>
            </a:endParaRPr>
          </a:p>
        </p:txBody>
      </p:sp>
      <p:pic>
        <p:nvPicPr>
          <p:cNvPr id="10" name="Picture 1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491" y="1316199"/>
            <a:ext cx="8436201" cy="4860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17961" dir="2700000" algn="ctr" rotWithShape="0">
                    <a:srgbClr val="375D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894109629"/>
      </p:ext>
    </p:extLst>
  </p:cSld>
  <p:clrMapOvr>
    <a:masterClrMapping/>
  </p:clrMapOvr>
  <p:transition spd="slow" advClick="0" advTm="30000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>
            <a:extLst>
              <a:ext uri="{FF2B5EF4-FFF2-40B4-BE49-F238E27FC236}">
                <a16:creationId xmlns="" xmlns:a16="http://schemas.microsoft.com/office/drawing/2014/main" id="{F7C63A6F-A3E8-41B7-B701-DE54504D808B}"/>
              </a:ext>
            </a:extLst>
          </p:cNvPr>
          <p:cNvSpPr txBox="1"/>
          <p:nvPr/>
        </p:nvSpPr>
        <p:spPr>
          <a:xfrm>
            <a:off x="1" y="211350"/>
            <a:ext cx="9080652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GDP növekedésének üteme nálunk – szerencsére – gyorsabb mind az államadósságénál, mind az államháztartás együttes kiadásánál </a:t>
            </a:r>
          </a:p>
          <a:p>
            <a:r>
              <a:rPr lang="hu-HU" sz="7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>Néhány jellemző adat: GDP,  államadósság, a magyar államháztartás kiadási főösszege, adósságszolgálat, EU forrás</a:t>
            </a:r>
          </a:p>
        </p:txBody>
      </p:sp>
      <p:sp>
        <p:nvSpPr>
          <p:cNvPr id="3" name="Szövegdoboz 2"/>
          <p:cNvSpPr txBox="1"/>
          <p:nvPr/>
        </p:nvSpPr>
        <p:spPr>
          <a:xfrm>
            <a:off x="1" y="1988093"/>
            <a:ext cx="322729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050" dirty="0"/>
              <a:t>Milliárd forint</a:t>
            </a:r>
          </a:p>
        </p:txBody>
      </p:sp>
      <p:sp>
        <p:nvSpPr>
          <p:cNvPr id="7" name="Lekerekített téglalap 6"/>
          <p:cNvSpPr/>
          <p:nvPr/>
        </p:nvSpPr>
        <p:spPr>
          <a:xfrm>
            <a:off x="7227088" y="2430966"/>
            <a:ext cx="1853565" cy="348405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200" b="1" dirty="0">
                <a:latin typeface="Arial" panose="020B0604020202020204" pitchFamily="34" charset="0"/>
                <a:cs typeface="Arial" panose="020B0604020202020204" pitchFamily="34" charset="0"/>
              </a:rPr>
              <a:t>*2004 előtti uniós támogatások:</a:t>
            </a:r>
          </a:p>
          <a:p>
            <a:endParaRPr lang="hu-H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PHARE program:</a:t>
            </a:r>
          </a:p>
          <a:p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  tervezet: évi 100</a:t>
            </a:r>
            <a:b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               millió ECU</a:t>
            </a:r>
          </a:p>
          <a:p>
            <a:endParaRPr lang="hu-H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1990-1998 között 800 millió euró</a:t>
            </a:r>
          </a:p>
          <a:p>
            <a:endParaRPr lang="hu-H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2000-2006 között 1,5 milliárd euró </a:t>
            </a:r>
          </a:p>
          <a:p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</a:t>
            </a:r>
          </a:p>
          <a:p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SAPARD program:</a:t>
            </a:r>
          </a:p>
          <a:p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 2000-2006 között </a:t>
            </a:r>
            <a:b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    38 millió euró </a:t>
            </a:r>
          </a:p>
          <a:p>
            <a:pPr algn="ctr"/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  (éves szinten 10 </a:t>
            </a:r>
            <a:r>
              <a:rPr lang="hu-HU" sz="1200" dirty="0" err="1">
                <a:latin typeface="Arial" panose="020B0604020202020204" pitchFamily="34" charset="0"/>
                <a:cs typeface="Arial" panose="020B0604020202020204" pitchFamily="34" charset="0"/>
              </a:rPr>
              <a:t>mrd</a:t>
            </a:r>
            <a:r>
              <a:rPr lang="hu-HU" sz="1200" dirty="0">
                <a:latin typeface="Arial" panose="020B0604020202020204" pitchFamily="34" charset="0"/>
                <a:cs typeface="Arial" panose="020B0604020202020204" pitchFamily="34" charset="0"/>
              </a:rPr>
              <a:t> forint)</a:t>
            </a:r>
          </a:p>
        </p:txBody>
      </p:sp>
      <p:sp>
        <p:nvSpPr>
          <p:cNvPr id="9" name="Szövegdoboz 8"/>
          <p:cNvSpPr txBox="1"/>
          <p:nvPr/>
        </p:nvSpPr>
        <p:spPr>
          <a:xfrm>
            <a:off x="0" y="6557480"/>
            <a:ext cx="356148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050" i="1" dirty="0"/>
              <a:t>Forrás: KT Titkársága szerkesztés</a:t>
            </a:r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3DC5-9A08-45DE-8E1B-6A7050465108}" type="slidenum">
              <a:rPr lang="hu-HU" smtClean="0"/>
              <a:pPr/>
              <a:t>7</a:t>
            </a:fld>
            <a:endParaRPr lang="hu-HU"/>
          </a:p>
        </p:txBody>
      </p:sp>
      <p:graphicFrame>
        <p:nvGraphicFramePr>
          <p:cNvPr id="10" name="Diagram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223861139"/>
              </p:ext>
            </p:extLst>
          </p:nvPr>
        </p:nvGraphicFramePr>
        <p:xfrm>
          <a:off x="0" y="2174695"/>
          <a:ext cx="7227088" cy="4281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35261453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>
          <a:xfrm>
            <a:off x="6528708" y="6420358"/>
            <a:ext cx="2057400" cy="365125"/>
          </a:xfrm>
        </p:spPr>
        <p:txBody>
          <a:bodyPr/>
          <a:lstStyle/>
          <a:p>
            <a:fld id="{DD193DC5-9A08-45DE-8E1B-6A7050465108}" type="slidenum">
              <a:rPr lang="hu-HU" smtClean="0"/>
              <a:pPr/>
              <a:t>8</a:t>
            </a:fld>
            <a:endParaRPr lang="hu-HU"/>
          </a:p>
        </p:txBody>
      </p:sp>
      <p:sp>
        <p:nvSpPr>
          <p:cNvPr id="5" name="Szövegdoboz 4"/>
          <p:cNvSpPr txBox="1"/>
          <p:nvPr/>
        </p:nvSpPr>
        <p:spPr>
          <a:xfrm>
            <a:off x="-21771" y="6356351"/>
            <a:ext cx="903514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/>
              <a:t>*A Bizottság módszertana alapján a nettó pozíció számításakor a befizetések összege módosításra kerül egy korrekciós arányszámmal (adminisztrációs kiadások nélküli kifizetés az összes EU tagállamnak és a tagállamok által befizetett összes nemzeti hozzájárulás aránya), ezen felül a befizetésekben nem kerülnek figyelembevételre az ún. tradicionális saját források (TOR) címén az EU költségvetésébe befizetett összegek, mivel a közösségi politikákból eredően ezek tisztán uniós bevételeknek számítanak. </a:t>
            </a:r>
          </a:p>
        </p:txBody>
      </p:sp>
      <p:sp>
        <p:nvSpPr>
          <p:cNvPr id="6" name="Szövegdoboz 5"/>
          <p:cNvSpPr txBox="1"/>
          <p:nvPr/>
        </p:nvSpPr>
        <p:spPr>
          <a:xfrm>
            <a:off x="-1" y="1367525"/>
            <a:ext cx="9105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>Magyarország uniós befizetései, az Unióból származó támogatásai, valamint nettó pozíciója 2004-2020 között (GDP százalékában) 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zövegdoboz 6"/>
          <p:cNvSpPr txBox="1"/>
          <p:nvPr/>
        </p:nvSpPr>
        <p:spPr>
          <a:xfrm>
            <a:off x="0" y="0"/>
            <a:ext cx="910589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EU-ból Magyarországra érkező </a:t>
            </a:r>
            <a:r>
              <a:rPr lang="hu-HU" sz="2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tósított </a:t>
            </a:r>
            <a:r>
              <a:rPr lang="hu-HU" sz="2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ámogatások GDP arányos mértéke a 2004. évi 0,2 százalékról évente fokozatosan emelkedve 2014-re több mint 5 százalék lett, azóta 3 százalék körül mozog</a:t>
            </a:r>
          </a:p>
        </p:txBody>
      </p:sp>
      <p:sp>
        <p:nvSpPr>
          <p:cNvPr id="8" name="Lekerekített téglalap 7"/>
          <p:cNvSpPr/>
          <p:nvPr/>
        </p:nvSpPr>
        <p:spPr>
          <a:xfrm>
            <a:off x="6096000" y="5192360"/>
            <a:ext cx="2939143" cy="1097359"/>
          </a:xfrm>
          <a:prstGeom prst="round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Fentieken túlmenően az általunk beszedett, Uniót megillető illeték- és vámbevételek évente átlagosan a GDP 0,1 százalékát képviselik</a:t>
            </a:r>
          </a:p>
        </p:txBody>
      </p:sp>
      <p:sp>
        <p:nvSpPr>
          <p:cNvPr id="9" name="Szövegdoboz 8"/>
          <p:cNvSpPr txBox="1"/>
          <p:nvPr/>
        </p:nvSpPr>
        <p:spPr>
          <a:xfrm>
            <a:off x="76201" y="6086307"/>
            <a:ext cx="47135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400" i="1" dirty="0">
                <a:latin typeface="Arial" panose="020B0604020202020204" pitchFamily="34" charset="0"/>
                <a:cs typeface="Arial" panose="020B0604020202020204" pitchFamily="34" charset="0"/>
              </a:rPr>
              <a:t>Forrás: PM, KT Titkársága</a:t>
            </a:r>
          </a:p>
        </p:txBody>
      </p:sp>
      <p:graphicFrame>
        <p:nvGraphicFramePr>
          <p:cNvPr id="11" name="Diagram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477354686"/>
              </p:ext>
            </p:extLst>
          </p:nvPr>
        </p:nvGraphicFramePr>
        <p:xfrm>
          <a:off x="0" y="2013857"/>
          <a:ext cx="9013372" cy="4072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11994055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0" y="70530"/>
            <a:ext cx="905691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Ígéretes gazdaságunk további fejlődése az elkövetkező években.  A Költségvetési Tanács szerint elsősorban a külső feltételek jelenthetnek kockázatot a növekedés fenntarthatóságára</a:t>
            </a:r>
          </a:p>
        </p:txBody>
      </p:sp>
      <p:graphicFrame>
        <p:nvGraphicFramePr>
          <p:cNvPr id="6" name="Táblázat 5">
            <a:extLst>
              <a:ext uri="{FF2B5EF4-FFF2-40B4-BE49-F238E27FC236}">
                <a16:creationId xmlns="" xmlns:a16="http://schemas.microsoft.com/office/drawing/2014/main" id="{F08592AE-80B5-45FA-AF40-3BC781EAD4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068709699"/>
              </p:ext>
            </p:extLst>
          </p:nvPr>
        </p:nvGraphicFramePr>
        <p:xfrm>
          <a:off x="141931" y="1542525"/>
          <a:ext cx="8806609" cy="30009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8571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0814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00814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008146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008146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008146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1080167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1757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áltozás %-ában</a:t>
                      </a:r>
                    </a:p>
                  </a:txBody>
                  <a:tcPr marL="38582" marR="38582" marT="19293" marB="19293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u-H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38582" marR="38582" marT="19293" marB="19293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u-H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38582" marR="38582" marT="19293" marB="19293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u-H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38582" marR="38582" marT="19293" marB="19293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u-H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38582" marR="38582" marT="19293" marB="19293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u-H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38582" marR="38582" marT="19293" marB="19293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u-H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</a:t>
                      </a:r>
                    </a:p>
                  </a:txBody>
                  <a:tcPr marL="38582" marR="38582" marT="19293" marB="19293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5746">
                <a:tc>
                  <a:txBody>
                    <a:bodyPr/>
                    <a:lstStyle/>
                    <a:p>
                      <a:r>
                        <a:rPr lang="hu-H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DP (előző évi áron)</a:t>
                      </a:r>
                    </a:p>
                  </a:txBody>
                  <a:tcPr marL="38582" marR="38582" marT="19293" marB="19293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9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,3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0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4,1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0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,0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1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,2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2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,1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0</a:t>
                      </a:r>
                    </a:p>
                  </a:txBody>
                  <a:tcPr marL="38582" marR="38582" marT="19293" marB="19293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5746">
                <a:tc gridSpan="7">
                  <a:txBody>
                    <a:bodyPr/>
                    <a:lstStyle/>
                    <a:p>
                      <a:pPr lvl="1"/>
                      <a:r>
                        <a:rPr lang="hu-HU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növekedés összetevői (előző évi áron)</a:t>
                      </a:r>
                    </a:p>
                  </a:txBody>
                  <a:tcPr marL="38582" marR="38582" marT="19293" marB="19293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75746">
                <a:tc>
                  <a:txBody>
                    <a:bodyPr/>
                    <a:lstStyle/>
                    <a:p>
                      <a:r>
                        <a:rPr lang="hu-H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áztartások fogyasztási</a:t>
                      </a:r>
                      <a:r>
                        <a:rPr lang="hu-HU" sz="1100" b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kiadása</a:t>
                      </a:r>
                      <a:endParaRPr lang="hu-HU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582" marR="38582" marT="19293" marB="19293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4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5,2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6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,8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7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6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5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5</a:t>
                      </a:r>
                    </a:p>
                  </a:txBody>
                  <a:tcPr marL="38582" marR="38582" marT="19293" marB="19293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75746">
                <a:tc>
                  <a:txBody>
                    <a:bodyPr/>
                    <a:lstStyle/>
                    <a:p>
                      <a:r>
                        <a:rPr lang="hu-H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özösségi fogyasztási kiadás*</a:t>
                      </a:r>
                    </a:p>
                  </a:txBody>
                  <a:tcPr marL="38582" marR="38582" marT="19293" marB="19293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0,5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,4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</a:t>
                      </a:r>
                      <a:r>
                        <a:rPr lang="hu-HU" sz="1200" b="1" dirty="0" err="1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,7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8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,5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hu-HU" sz="12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4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</a:t>
                      </a:r>
                      <a:r>
                        <a:rPr lang="hu-HU" sz="1200" b="1" dirty="0" err="1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,4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6</a:t>
                      </a:r>
                    </a:p>
                  </a:txBody>
                  <a:tcPr marL="38582" marR="38582" marT="19293" marB="19293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75746">
                <a:tc>
                  <a:txBody>
                    <a:bodyPr/>
                    <a:lstStyle/>
                    <a:p>
                      <a:r>
                        <a:rPr lang="hu-H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uttó állóeszköz-felhalmozás</a:t>
                      </a:r>
                    </a:p>
                  </a:txBody>
                  <a:tcPr marL="38582" marR="38582" marT="19293" marB="19293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,5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2,8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,3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7,5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8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5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hu-HU" sz="12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7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6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5,1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1</a:t>
                      </a:r>
                    </a:p>
                  </a:txBody>
                  <a:tcPr marL="38582" marR="38582" marT="19293" marB="19293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75746">
                <a:tc>
                  <a:txBody>
                    <a:bodyPr/>
                    <a:lstStyle/>
                    <a:p>
                      <a:r>
                        <a:rPr lang="hu-H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észletváltozás (a GDP %-ában)</a:t>
                      </a:r>
                    </a:p>
                  </a:txBody>
                  <a:tcPr marL="38582" marR="38582" marT="19293" marB="19293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,</a:t>
                      </a:r>
                      <a:r>
                        <a:rPr lang="hu-HU" sz="12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</a:t>
                      </a:r>
                      <a:r>
                        <a:rPr lang="hu-HU" sz="1200" b="1" dirty="0" err="1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hu-HU" sz="12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3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,</a:t>
                      </a:r>
                      <a:r>
                        <a:rPr lang="hu-HU" sz="12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</a:t>
                      </a:r>
                      <a:r>
                        <a:rPr lang="hu-HU" sz="1200" b="1" dirty="0" err="1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hu-HU" sz="12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</a:t>
                      </a:r>
                      <a:r>
                        <a:rPr lang="hu-HU" sz="1200" b="1" dirty="0" err="1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hu-HU" sz="12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</a:t>
                      </a:r>
                      <a:r>
                        <a:rPr lang="hu-HU" sz="1200" b="1" dirty="0" err="1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hu-HU" sz="12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582" marR="38582" marT="19293" marB="19293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75746">
                <a:tc>
                  <a:txBody>
                    <a:bodyPr/>
                    <a:lstStyle/>
                    <a:p>
                      <a:r>
                        <a:rPr lang="hu-H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mékek és szolgáltatások exportja</a:t>
                      </a:r>
                    </a:p>
                  </a:txBody>
                  <a:tcPr marL="38582" marR="38582" marT="19293" marB="19293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7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hu-HU" sz="12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2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1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6,9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2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6,7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0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7,3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3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7,1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</a:t>
                      </a:r>
                      <a:r>
                        <a:rPr lang="hu-HU" sz="1200" b="1" dirty="0" err="1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hu-HU" sz="12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582" marR="38582" marT="19293" marB="19293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75746">
                <a:tc>
                  <a:txBody>
                    <a:bodyPr/>
                    <a:lstStyle/>
                    <a:p>
                      <a:r>
                        <a:rPr lang="hu-H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mékek és szolgáltatások importja</a:t>
                      </a:r>
                    </a:p>
                  </a:txBody>
                  <a:tcPr marL="38582" marR="38582" marT="19293" marB="19293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1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,2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5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7,4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4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6,3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</a:t>
                      </a:r>
                      <a:r>
                        <a:rPr lang="hu-HU" sz="1200" b="1" dirty="0" err="1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7,1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1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6,9)</a:t>
                      </a: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0</a:t>
                      </a:r>
                    </a:p>
                  </a:txBody>
                  <a:tcPr marL="38582" marR="38582" marT="19293" marB="19293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75746">
                <a:tc gridSpan="7">
                  <a:txBody>
                    <a:bodyPr/>
                    <a:lstStyle/>
                    <a:p>
                      <a:pPr lvl="1"/>
                      <a:r>
                        <a:rPr lang="hu-HU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zzájárulás a GDP növekedéséhez (előző évi áron)</a:t>
                      </a:r>
                    </a:p>
                  </a:txBody>
                  <a:tcPr marL="38582" marR="38582" marT="19293" marB="19293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hu-H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75746">
                <a:tc>
                  <a:txBody>
                    <a:bodyPr/>
                    <a:lstStyle/>
                    <a:p>
                      <a:r>
                        <a:rPr lang="hu-H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lföldi végső felhasználás</a:t>
                      </a:r>
                    </a:p>
                  </a:txBody>
                  <a:tcPr marL="38582" marR="38582" marT="19293" marB="19293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2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5,</a:t>
                      </a:r>
                      <a:r>
                        <a:rPr lang="hu-HU" sz="12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hu-HU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1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,2)</a:t>
                      </a:r>
                      <a:endParaRPr lang="hu-HU" sz="12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7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3,</a:t>
                      </a:r>
                      <a:r>
                        <a:rPr lang="hu-HU" sz="12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hu-HU" sz="12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4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,7)</a:t>
                      </a:r>
                      <a:endParaRPr lang="hu-HU" sz="12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7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,5)</a:t>
                      </a:r>
                      <a:endParaRPr lang="hu-HU" sz="12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2</a:t>
                      </a:r>
                    </a:p>
                  </a:txBody>
                  <a:tcPr marL="38582" marR="38582" marT="19293" marB="19293"/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75746">
                <a:tc>
                  <a:txBody>
                    <a:bodyPr/>
                    <a:lstStyle/>
                    <a:p>
                      <a:r>
                        <a:rPr lang="hu-H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észletváltozás</a:t>
                      </a:r>
                    </a:p>
                  </a:txBody>
                  <a:tcPr marL="38582" marR="38582" marT="19293" marB="19293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,</a:t>
                      </a:r>
                      <a:r>
                        <a:rPr lang="hu-HU" sz="12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hu-HU" sz="12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</a:t>
                      </a:r>
                      <a:r>
                        <a:rPr lang="hu-HU" sz="1200" b="1" dirty="0" err="1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hu-HU" sz="12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3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,</a:t>
                      </a:r>
                      <a:r>
                        <a:rPr lang="hu-HU" sz="12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hu-HU" sz="12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</a:t>
                      </a:r>
                      <a:r>
                        <a:rPr lang="hu-HU" sz="1200" b="1" dirty="0" err="1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hu-HU" sz="12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</a:t>
                      </a:r>
                      <a:r>
                        <a:rPr lang="hu-HU" sz="1200" b="1" dirty="0" err="1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hu-HU" sz="12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</a:t>
                      </a:r>
                      <a:r>
                        <a:rPr lang="hu-HU" sz="1200" b="1" dirty="0" err="1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hu-HU" sz="12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582" marR="38582" marT="19293" marB="19293"/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175746">
                <a:tc>
                  <a:txBody>
                    <a:bodyPr/>
                    <a:lstStyle/>
                    <a:p>
                      <a:r>
                        <a:rPr lang="hu-H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mékek és szolgáltatások külkereskedelmi</a:t>
                      </a:r>
                      <a:r>
                        <a:rPr lang="hu-HU" sz="1100" b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gyenlege</a:t>
                      </a:r>
                      <a:endParaRPr lang="hu-HU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582" marR="38582" marT="19293" marB="19293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,5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-1,1)</a:t>
                      </a:r>
                      <a:endParaRPr lang="hu-HU" sz="12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,0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hu-HU" sz="12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hu-HU" sz="12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hu-HU" sz="12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1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,7)</a:t>
                      </a:r>
                      <a:endParaRPr lang="hu-HU" sz="12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,5)</a:t>
                      </a:r>
                      <a:endParaRPr lang="hu-HU" sz="12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 </a:t>
                      </a:r>
                      <a:r>
                        <a:rPr lang="hu-HU" sz="12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,6)</a:t>
                      </a:r>
                      <a:endParaRPr lang="hu-HU" sz="12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582" marR="38582" marT="19293" marB="19293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2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</a:t>
                      </a:r>
                    </a:p>
                  </a:txBody>
                  <a:tcPr marL="38582" marR="38582" marT="19293" marB="19293"/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3" name="Cím 1">
            <a:extLst>
              <a:ext uri="{FF2B5EF4-FFF2-40B4-BE49-F238E27FC236}">
                <a16:creationId xmlns="" xmlns:a16="http://schemas.microsoft.com/office/drawing/2014/main" id="{54794D45-5DC4-4DBE-AD87-72F86576BAA0}"/>
              </a:ext>
            </a:extLst>
          </p:cNvPr>
          <p:cNvSpPr txBox="1">
            <a:spLocks/>
          </p:cNvSpPr>
          <p:nvPr/>
        </p:nvSpPr>
        <p:spPr>
          <a:xfrm>
            <a:off x="0" y="1213581"/>
            <a:ext cx="9056914" cy="26528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hu-HU" altLang="en-US" sz="1500" b="1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zai makrogazdasági kilátások a </a:t>
            </a:r>
            <a:r>
              <a:rPr lang="hu-HU" altLang="en-US" sz="1500" b="1" dirty="0">
                <a:solidFill>
                  <a:srgbClr val="C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19-2023-as</a:t>
            </a:r>
            <a:r>
              <a:rPr lang="hu-HU" altLang="en-US" sz="1500" b="1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hu-HU" altLang="en-US" sz="15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és 2018-2022-es)</a:t>
            </a:r>
            <a:r>
              <a:rPr lang="hu-HU" altLang="en-US" sz="1500" b="1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Konvergencia Program alapján</a:t>
            </a:r>
            <a:endParaRPr lang="hu-HU" altLang="en-US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8076" name="Text Box 11">
            <a:extLst>
              <a:ext uri="{FF2B5EF4-FFF2-40B4-BE49-F238E27FC236}">
                <a16:creationId xmlns="" xmlns:a16="http://schemas.microsoft.com/office/drawing/2014/main" id="{01DE365C-36E6-4D4A-9F3A-34D95AB3F4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43188" y="4788547"/>
            <a:ext cx="1585244" cy="86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1655" tIns="10827" rIns="21655" bIns="10827">
            <a:spAutoFit/>
          </a:bodyPr>
          <a:lstStyle>
            <a:lvl1pPr defTabSz="912813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hu-HU" altLang="hu-HU" sz="422">
                <a:solidFill>
                  <a:srgbClr val="000000"/>
                </a:solidFill>
                <a:cs typeface="Arial" panose="020B0604020202020204" pitchFamily="34" charset="0"/>
              </a:rPr>
              <a:t>Forrás: Magyarország Konvergencia Programja 2017-2021</a:t>
            </a:r>
          </a:p>
        </p:txBody>
      </p:sp>
      <p:sp>
        <p:nvSpPr>
          <p:cNvPr id="168077" name="Szövegdoboz 6">
            <a:extLst>
              <a:ext uri="{FF2B5EF4-FFF2-40B4-BE49-F238E27FC236}">
                <a16:creationId xmlns="" xmlns:a16="http://schemas.microsoft.com/office/drawing/2014/main" id="{D379BFF1-6F2A-41A6-86A8-E7530270D8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15918" y="4759080"/>
            <a:ext cx="2502768" cy="163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hu-HU" altLang="hu-HU" sz="464">
                <a:cs typeface="Arial" panose="020B0604020202020204" pitchFamily="34" charset="0"/>
              </a:rPr>
              <a:t>*Kormányzat és háztartásokat segítő non-profit intézmények együtt</a:t>
            </a:r>
          </a:p>
        </p:txBody>
      </p:sp>
      <p:graphicFrame>
        <p:nvGraphicFramePr>
          <p:cNvPr id="8" name="Táblázat 7">
            <a:extLst>
              <a:ext uri="{FF2B5EF4-FFF2-40B4-BE49-F238E27FC236}">
                <a16:creationId xmlns="" xmlns:a16="http://schemas.microsoft.com/office/drawing/2014/main" id="{79205325-CA52-42F8-930E-62FD959E37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430383723"/>
              </p:ext>
            </p:extLst>
          </p:nvPr>
        </p:nvGraphicFramePr>
        <p:xfrm>
          <a:off x="141928" y="4631664"/>
          <a:ext cx="8806612" cy="18322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323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70384"/>
                <a:gridCol w="1017037"/>
                <a:gridCol w="1045028"/>
                <a:gridCol w="961053"/>
                <a:gridCol w="1082351"/>
                <a:gridCol w="1017520"/>
              </a:tblGrid>
              <a:tr h="119872">
                <a:tc>
                  <a:txBody>
                    <a:bodyPr/>
                    <a:lstStyle/>
                    <a:p>
                      <a:r>
                        <a:rPr lang="hu-H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DP %-ában</a:t>
                      </a:r>
                    </a:p>
                  </a:txBody>
                  <a:tcPr marL="38582" marR="38582" marT="19264" marB="19264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u-H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38582" marR="38582" marT="19264" marB="19264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u-H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38582" marR="38582" marT="19264" marB="19264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u-H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38582" marR="38582" marT="19264" marB="19264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u-H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38582" marR="38582" marT="19264" marB="19264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u-H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38582" marR="38582" marT="19264" marB="19264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u-H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</a:t>
                      </a:r>
                    </a:p>
                  </a:txBody>
                  <a:tcPr marL="38582" marR="38582" marT="19264" marB="19264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2283">
                <a:tc>
                  <a:txBody>
                    <a:bodyPr/>
                    <a:lstStyle/>
                    <a:p>
                      <a:r>
                        <a:rPr lang="hu-H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uttó adósságráta</a:t>
                      </a:r>
                    </a:p>
                  </a:txBody>
                  <a:tcPr marL="38582" marR="38582" marT="19264" marB="19264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,8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73,2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,2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69,6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,7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66,7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2,8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63,4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9,3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59,7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,9</a:t>
                      </a:r>
                    </a:p>
                  </a:txBody>
                  <a:tcPr marL="38582" marR="38582" marT="19264" marB="19264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02283">
                <a:tc>
                  <a:txBody>
                    <a:bodyPr/>
                    <a:lstStyle/>
                    <a:p>
                      <a:r>
                        <a:rPr lang="hu-H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ósságráta változása</a:t>
                      </a:r>
                    </a:p>
                  </a:txBody>
                  <a:tcPr marL="38582" marR="38582" marT="19264" marB="19264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,6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-0,4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,7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-3,5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,5</a:t>
                      </a:r>
                      <a:r>
                        <a:rPr lang="hu-HU" sz="1100" b="1" baseline="0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-3,0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,9</a:t>
                      </a:r>
                      <a:r>
                        <a:rPr lang="hu-HU" sz="1100" b="1" baseline="0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-3,2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,5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-3,8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,4</a:t>
                      </a:r>
                    </a:p>
                  </a:txBody>
                  <a:tcPr marL="38582" marR="38582" marT="19264" marB="19264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02283">
                <a:tc gridSpan="7">
                  <a:txBody>
                    <a:bodyPr/>
                    <a:lstStyle/>
                    <a:p>
                      <a:pPr lvl="1"/>
                      <a:r>
                        <a:rPr lang="hu-HU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zzájárulás az adósságállomány változásához</a:t>
                      </a:r>
                    </a:p>
                  </a:txBody>
                  <a:tcPr marL="38582" marR="38582" marT="19264" marB="19264"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02283">
                <a:tc>
                  <a:txBody>
                    <a:bodyPr/>
                    <a:lstStyle/>
                    <a:p>
                      <a:r>
                        <a:rPr lang="hu-H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sődleges egyenleg</a:t>
                      </a:r>
                    </a:p>
                  </a:txBody>
                  <a:tcPr marL="38582" marR="38582" marT="19264" marB="19264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3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-0,2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6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-0,6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0,8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-0,8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-1,0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7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-1,6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1</a:t>
                      </a:r>
                    </a:p>
                  </a:txBody>
                  <a:tcPr marL="38582" marR="38582" marT="19264" marB="19264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02283">
                <a:tc>
                  <a:txBody>
                    <a:bodyPr/>
                    <a:lstStyle/>
                    <a:p>
                      <a:r>
                        <a:rPr lang="hu-H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amatkiadás</a:t>
                      </a:r>
                    </a:p>
                  </a:txBody>
                  <a:tcPr marL="38582" marR="38582" marT="19264" marB="19264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5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,6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5</a:t>
                      </a:r>
                      <a:r>
                        <a:rPr lang="hu-HU" sz="1100" b="1" baseline="0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,4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4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,3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</a:t>
                      </a:r>
                      <a:r>
                        <a:rPr lang="hu-HU" sz="1100" b="1" dirty="0" err="1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hu-HU" sz="11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</a:t>
                      </a:r>
                      <a:r>
                        <a:rPr lang="hu-HU" sz="1100" b="1" dirty="0" err="1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hu-HU" sz="11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1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1</a:t>
                      </a:r>
                    </a:p>
                  </a:txBody>
                  <a:tcPr marL="38582" marR="38582" marT="19264" marB="19264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02283">
                <a:tc>
                  <a:txBody>
                    <a:bodyPr/>
                    <a:lstStyle/>
                    <a:p>
                      <a:r>
                        <a:rPr lang="hu-H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z adósságra ható egyéb tényezők</a:t>
                      </a:r>
                    </a:p>
                  </a:txBody>
                  <a:tcPr marL="38582" marR="38582" marT="19264" marB="19264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7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,1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8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-0,3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,2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0,7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,1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0,3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,</a:t>
                      </a:r>
                      <a:r>
                        <a:rPr lang="hu-HU" sz="11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</a:t>
                      </a:r>
                    </a:p>
                  </a:txBody>
                  <a:tcPr marL="38582" marR="38582" marT="19264" marB="19264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02283">
                <a:tc>
                  <a:txBody>
                    <a:bodyPr/>
                    <a:lstStyle/>
                    <a:p>
                      <a:r>
                        <a:rPr lang="hu-H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z adósságállomány implicit kamatlába (%)</a:t>
                      </a:r>
                    </a:p>
                  </a:txBody>
                  <a:tcPr marL="38582" marR="38582" marT="19264" marB="19264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7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,6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6</a:t>
                      </a:r>
                      <a:r>
                        <a:rPr lang="hu-HU" sz="1100" b="1" baseline="0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,5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6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,5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6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,5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7 </a:t>
                      </a:r>
                      <a:r>
                        <a:rPr lang="hu-HU" sz="11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,5)</a:t>
                      </a:r>
                    </a:p>
                  </a:txBody>
                  <a:tcPr marL="38582" marR="38582" marT="19264" marB="19264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1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7</a:t>
                      </a:r>
                    </a:p>
                  </a:txBody>
                  <a:tcPr marL="38582" marR="38582" marT="19264" marB="19264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9" name="Text Box 11">
            <a:extLst>
              <a:ext uri="{FF2B5EF4-FFF2-40B4-BE49-F238E27FC236}">
                <a16:creationId xmlns="" xmlns:a16="http://schemas.microsoft.com/office/drawing/2014/main" id="{01DE365C-36E6-4D4A-9F3A-34D95AB3F4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1931" y="6608738"/>
            <a:ext cx="4386525" cy="183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8873" tIns="14436" rIns="28873" bIns="14436">
            <a:spAutoFit/>
          </a:bodyPr>
          <a:lstStyle>
            <a:lvl1pPr defTabSz="912813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hu-HU" altLang="hu-HU" sz="1000" dirty="0">
                <a:solidFill>
                  <a:srgbClr val="000000"/>
                </a:solidFill>
                <a:cs typeface="Arial" panose="020B0604020202020204" pitchFamily="34" charset="0"/>
              </a:rPr>
              <a:t>Forrás: Magyarország Konvergencia Programja 2019-2023 és 2018-2022</a:t>
            </a:r>
          </a:p>
        </p:txBody>
      </p:sp>
      <p:sp>
        <p:nvSpPr>
          <p:cNvPr id="10" name="Szövegdoboz 6">
            <a:extLst>
              <a:ext uri="{FF2B5EF4-FFF2-40B4-BE49-F238E27FC236}">
                <a16:creationId xmlns="" xmlns:a16="http://schemas.microsoft.com/office/drawing/2014/main" id="{D379BFF1-6F2A-41A6-86A8-E7530270D8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12300" y="6538913"/>
            <a:ext cx="43317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hu-HU" altLang="hu-HU" sz="1000" dirty="0">
                <a:cs typeface="Arial" panose="020B0604020202020204" pitchFamily="34" charset="0"/>
              </a:rPr>
              <a:t>*Kormányzat és háztartásokat segítő non-profit intézmények együtt</a:t>
            </a: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93DC5-9A08-45DE-8E1B-6A7050465108}" type="slidenum">
              <a:rPr lang="hu-HU" smtClean="0"/>
              <a:pPr/>
              <a:t>9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31200385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 advClick="0" advTm="30000"/>
    </mc:Choice>
    <mc:Fallback>
      <p:transition spd="slow" advClick="0" advTm="3000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rzbbObckO64aKBIVQ8jg"/>
</p:tagLst>
</file>

<file path=ppt/theme/theme1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47</TotalTime>
  <Words>2736</Words>
  <Application>Microsoft Office PowerPoint</Application>
  <PresentationFormat>Diavetítés a képernyőre (4:3 oldalarány)</PresentationFormat>
  <Paragraphs>550</Paragraphs>
  <Slides>23</Slides>
  <Notes>10</Notes>
  <HiddenSlides>0</HiddenSlides>
  <MMClips>0</MMClips>
  <ScaleCrop>false</ScaleCrop>
  <HeadingPairs>
    <vt:vector size="6" baseType="variant"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23</vt:i4>
      </vt:variant>
    </vt:vector>
  </HeadingPairs>
  <TitlesOfParts>
    <vt:vector size="25" baseType="lpstr">
      <vt:lpstr>Office-téma</vt:lpstr>
      <vt:lpstr>think-cell Slide</vt:lpstr>
      <vt:lpstr>    KÖZÉP EURÓPA ÉS MAGYARORSZÁG HELYZETE ÉS NÉHÁNY STRATÉGIAI FELADATA A PÁNEURÓPAI PIKNIK UTÁN 30 ÉVVEL  </vt:lpstr>
      <vt:lpstr>Hullámhegyek, hullámvölgyek a magyar államadósság-ráta, valamint gazdasági növekedés kormányzati ciklusok szerinti alakulásában. Munkanélküliség a 2010-es évekig, mára munkaerőhiány  A kormányzás, a GDP arányos államadósság, a GDP változása az előző évhez képest, valamint a munkanélküliség alakulása</vt:lpstr>
      <vt:lpstr>3. dia</vt:lpstr>
      <vt:lpstr>Az államadósság devizaaránya 23 százalék közelébe csökkent 2018 végére</vt:lpstr>
      <vt:lpstr>2019 elején Az állampapírok mintegy ötöde a háztartások tulajdonában van</vt:lpstr>
      <vt:lpstr> A strukturális tényezők mellett  ország-specifikus események és a gazdaságpolitika is befolyásolja az egyes országok relatív megítélését </vt:lpstr>
      <vt:lpstr>7. dia</vt:lpstr>
      <vt:lpstr>8. dia</vt:lpstr>
      <vt:lpstr>9. dia</vt:lpstr>
      <vt:lpstr>10. dia</vt:lpstr>
      <vt:lpstr>11. dia</vt:lpstr>
      <vt:lpstr>12. dia</vt:lpstr>
      <vt:lpstr>Az egész régióban kitüntetett szerepet játszik a járműipar, Magyarországon a válság óta végrehajtott nagyberuházások emelték a súlyát és a trend folytatódik</vt:lpstr>
      <vt:lpstr>Az élénkülés nálunk főként a belső piachoz köthető szektorokban jelentkezett</vt:lpstr>
      <vt:lpstr>A fogyasztásunk dinamizálódik, a nettó exportunk fokozatosan mérséklődik</vt:lpstr>
      <vt:lpstr>16. dia</vt:lpstr>
      <vt:lpstr>Az erősödő konjunktúra a hitelezés élénkülését is elhozta nálunk. A lakossági hitelek hazai bővülése egyelőre elmarad a régiós átlagtól. A vállalati hitelek azonban igen dinamikusan alakultak részben a jegybanki programoknak köszönhetően</vt:lpstr>
      <vt:lpstr>18. dia</vt:lpstr>
      <vt:lpstr>19. dia</vt:lpstr>
      <vt:lpstr>20. dia</vt:lpstr>
      <vt:lpstr>21. dia</vt:lpstr>
      <vt:lpstr>22. dia</vt:lpstr>
      <vt:lpstr>KÖSZÖNÖM A MEGTISZTELŐ FIGYELMET!</vt:lpstr>
    </vt:vector>
  </TitlesOfParts>
  <Company>Országgyűlés Hivatal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bemutató</dc:title>
  <dc:creator>gergicst</dc:creator>
  <cp:lastModifiedBy>Vasvári József</cp:lastModifiedBy>
  <cp:revision>411</cp:revision>
  <cp:lastPrinted>2019-05-08T17:05:15Z</cp:lastPrinted>
  <dcterms:created xsi:type="dcterms:W3CDTF">2015-09-15T08:22:01Z</dcterms:created>
  <dcterms:modified xsi:type="dcterms:W3CDTF">2019-05-21T08:43:22Z</dcterms:modified>
</cp:coreProperties>
</file>